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2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1.xml" ContentType="application/vnd.openxmlformats-officedocument.presentationml.notesSlid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notesSlides/notesSlide2.xml" ContentType="application/vnd.openxmlformats-officedocument.presentationml.notesSlid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notesSlides/notesSlide3.xml" ContentType="application/vnd.openxmlformats-officedocument.presentationml.notesSlid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notesSlides/notesSlide4.xml" ContentType="application/vnd.openxmlformats-officedocument.presentationml.notesSlide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8"/>
  </p:notesMasterIdLst>
  <p:sldIdLst>
    <p:sldId id="281" r:id="rId2"/>
    <p:sldId id="273" r:id="rId3"/>
    <p:sldId id="267" r:id="rId4"/>
    <p:sldId id="269" r:id="rId5"/>
    <p:sldId id="263" r:id="rId6"/>
    <p:sldId id="264" r:id="rId7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C000"/>
    <a:srgbClr val="5B9BD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515" autoAdjust="0"/>
    <p:restoredTop sz="94660"/>
  </p:normalViewPr>
  <p:slideViewPr>
    <p:cSldViewPr snapToGrid="0">
      <p:cViewPr varScale="1">
        <p:scale>
          <a:sx n="106" d="100"/>
          <a:sy n="106" d="100"/>
        </p:scale>
        <p:origin x="678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24A98EB-6ADD-4D71-B2D7-56CE150BD037}" type="datetimeFigureOut">
              <a:rPr lang="fr-CH" smtClean="0"/>
              <a:t>05.04.2019</a:t>
            </a:fld>
            <a:endParaRPr lang="fr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CH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CH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E42C919-7850-480D-A6D3-22459E415D49}" type="slidenum">
              <a:rPr lang="fr-CH" smtClean="0"/>
              <a:t>‹N°›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40899045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87363" y="357188"/>
            <a:ext cx="4513262" cy="25384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4377"/>
            <a:fld id="{28182E2C-AC48-45A1-A539-1D63FC6BDE45}" type="slidenum">
              <a:rPr lang="fr-CH" smtClean="0"/>
              <a:pPr defTabSz="914377"/>
              <a:t>1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8356672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44500" y="357188"/>
            <a:ext cx="4511675" cy="25384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17BAA4-B5B9-4EE6-BF04-2BF699039A35}" type="slidenum">
              <a:rPr lang="fr-CH" smtClean="0"/>
              <a:pPr/>
              <a:t>2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12925130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87363" y="357188"/>
            <a:ext cx="4513262" cy="25384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4377"/>
            <a:fld id="{28182E2C-AC48-45A1-A539-1D63FC6BDE45}" type="slidenum">
              <a:rPr lang="fr-CH" smtClean="0"/>
              <a:pPr defTabSz="914377"/>
              <a:t>3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155850644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87363" y="357188"/>
            <a:ext cx="4513262" cy="25384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4377"/>
            <a:fld id="{28182E2C-AC48-45A1-A539-1D63FC6BDE45}" type="slidenum">
              <a:rPr lang="fr-CH" smtClean="0"/>
              <a:pPr defTabSz="914377"/>
              <a:t>4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16393197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3.xml"/><Relationship Id="rId7" Type="http://schemas.openxmlformats.org/officeDocument/2006/relationships/oleObject" Target="../embeddings/oleObject1.bin"/><Relationship Id="rId2" Type="http://schemas.openxmlformats.org/officeDocument/2006/relationships/tags" Target="../tags/tag12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5.xml"/><Relationship Id="rId4" Type="http://schemas.openxmlformats.org/officeDocument/2006/relationships/tags" Target="../tags/tag14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fr-CH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r-CH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A13FF3-A3B4-402D-91B1-C176C247EB92}" type="datetimeFigureOut">
              <a:rPr lang="fr-CH" smtClean="0"/>
              <a:t>05.04.2019</a:t>
            </a:fld>
            <a:endParaRPr lang="fr-CH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107053-0274-46BF-A48C-B751F6C03B80}" type="slidenum">
              <a:rPr lang="fr-CH" smtClean="0"/>
              <a:t>‹N°›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158185917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CH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CH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A13FF3-A3B4-402D-91B1-C176C247EB92}" type="datetimeFigureOut">
              <a:rPr lang="fr-CH" smtClean="0"/>
              <a:t>05.04.2019</a:t>
            </a:fld>
            <a:endParaRPr lang="fr-CH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107053-0274-46BF-A48C-B751F6C03B80}" type="slidenum">
              <a:rPr lang="fr-CH" smtClean="0"/>
              <a:t>‹N°›</a:t>
            </a:fld>
            <a:endParaRPr lang="fr-CH"/>
          </a:p>
        </p:txBody>
      </p:sp>
      <p:sp>
        <p:nvSpPr>
          <p:cNvPr id="7" name="Freeform 6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" name="Freeform 7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9" name="Group 12">
            <a:extLst>
              <a:ext uri="{FF2B5EF4-FFF2-40B4-BE49-F238E27FC236}">
                <a16:creationId xmlns:a16="http://schemas.microsoft.com/office/drawing/2014/main" id="{69BB05D7-53E2-4650-A23C-A649E2845235}"/>
              </a:ext>
            </a:extLst>
          </p:cNvPr>
          <p:cNvGrpSpPr/>
          <p:nvPr userDrawn="1"/>
        </p:nvGrpSpPr>
        <p:grpSpPr>
          <a:xfrm>
            <a:off x="11588238" y="6254238"/>
            <a:ext cx="575187" cy="575187"/>
            <a:chOff x="11588238" y="6254238"/>
            <a:chExt cx="575187" cy="575187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E4B1EEFD-5CA8-42B5-B71D-53F29B7A2823}"/>
                </a:ext>
              </a:extLst>
            </p:cNvPr>
            <p:cNvSpPr>
              <a:spLocks/>
            </p:cNvSpPr>
            <p:nvPr>
              <p:custDataLst>
                <p:tags r:id="rId1"/>
              </p:custDataLst>
            </p:nvPr>
          </p:nvSpPr>
          <p:spPr bwMode="gray">
            <a:xfrm>
              <a:off x="11588238" y="6254238"/>
              <a:ext cx="575187" cy="575187"/>
            </a:xfrm>
            <a:custGeom>
              <a:avLst/>
              <a:gdLst>
                <a:gd name="T0" fmla="*/ 662 w 699"/>
                <a:gd name="T1" fmla="*/ 347 h 691"/>
                <a:gd name="T2" fmla="*/ 691 w 699"/>
                <a:gd name="T3" fmla="*/ 320 h 691"/>
                <a:gd name="T4" fmla="*/ 684 w 699"/>
                <a:gd name="T5" fmla="*/ 269 h 691"/>
                <a:gd name="T6" fmla="*/ 645 w 699"/>
                <a:gd name="T7" fmla="*/ 243 h 691"/>
                <a:gd name="T8" fmla="*/ 663 w 699"/>
                <a:gd name="T9" fmla="*/ 188 h 691"/>
                <a:gd name="T10" fmla="*/ 644 w 699"/>
                <a:gd name="T11" fmla="*/ 171 h 691"/>
                <a:gd name="T12" fmla="*/ 602 w 699"/>
                <a:gd name="T13" fmla="*/ 165 h 691"/>
                <a:gd name="T14" fmla="*/ 606 w 699"/>
                <a:gd name="T15" fmla="*/ 109 h 691"/>
                <a:gd name="T16" fmla="*/ 540 w 699"/>
                <a:gd name="T17" fmla="*/ 101 h 691"/>
                <a:gd name="T18" fmla="*/ 528 w 699"/>
                <a:gd name="T19" fmla="*/ 93 h 691"/>
                <a:gd name="T20" fmla="*/ 509 w 699"/>
                <a:gd name="T21" fmla="*/ 37 h 691"/>
                <a:gd name="T22" fmla="*/ 484 w 699"/>
                <a:gd name="T23" fmla="*/ 34 h 691"/>
                <a:gd name="T24" fmla="*/ 447 w 699"/>
                <a:gd name="T25" fmla="*/ 52 h 691"/>
                <a:gd name="T26" fmla="*/ 417 w 699"/>
                <a:gd name="T27" fmla="*/ 6 h 691"/>
                <a:gd name="T28" fmla="*/ 394 w 699"/>
                <a:gd name="T29" fmla="*/ 1 h 691"/>
                <a:gd name="T30" fmla="*/ 352 w 699"/>
                <a:gd name="T31" fmla="*/ 37 h 691"/>
                <a:gd name="T32" fmla="*/ 322 w 699"/>
                <a:gd name="T33" fmla="*/ 8 h 691"/>
                <a:gd name="T34" fmla="*/ 273 w 699"/>
                <a:gd name="T35" fmla="*/ 16 h 691"/>
                <a:gd name="T36" fmla="*/ 253 w 699"/>
                <a:gd name="T37" fmla="*/ 52 h 691"/>
                <a:gd name="T38" fmla="*/ 217 w 699"/>
                <a:gd name="T39" fmla="*/ 34 h 691"/>
                <a:gd name="T40" fmla="*/ 192 w 699"/>
                <a:gd name="T41" fmla="*/ 37 h 691"/>
                <a:gd name="T42" fmla="*/ 174 w 699"/>
                <a:gd name="T43" fmla="*/ 93 h 691"/>
                <a:gd name="T44" fmla="*/ 110 w 699"/>
                <a:gd name="T45" fmla="*/ 94 h 691"/>
                <a:gd name="T46" fmla="*/ 102 w 699"/>
                <a:gd name="T47" fmla="*/ 159 h 691"/>
                <a:gd name="T48" fmla="*/ 94 w 699"/>
                <a:gd name="T49" fmla="*/ 171 h 691"/>
                <a:gd name="T50" fmla="*/ 39 w 699"/>
                <a:gd name="T51" fmla="*/ 186 h 691"/>
                <a:gd name="T52" fmla="*/ 34 w 699"/>
                <a:gd name="T53" fmla="*/ 215 h 691"/>
                <a:gd name="T54" fmla="*/ 53 w 699"/>
                <a:gd name="T55" fmla="*/ 252 h 691"/>
                <a:gd name="T56" fmla="*/ 5 w 699"/>
                <a:gd name="T57" fmla="*/ 280 h 691"/>
                <a:gd name="T58" fmla="*/ 1 w 699"/>
                <a:gd name="T59" fmla="*/ 304 h 691"/>
                <a:gd name="T60" fmla="*/ 39 w 699"/>
                <a:gd name="T61" fmla="*/ 345 h 691"/>
                <a:gd name="T62" fmla="*/ 8 w 699"/>
                <a:gd name="T63" fmla="*/ 374 h 691"/>
                <a:gd name="T64" fmla="*/ 16 w 699"/>
                <a:gd name="T65" fmla="*/ 423 h 691"/>
                <a:gd name="T66" fmla="*/ 54 w 699"/>
                <a:gd name="T67" fmla="*/ 443 h 691"/>
                <a:gd name="T68" fmla="*/ 33 w 699"/>
                <a:gd name="T69" fmla="*/ 496 h 691"/>
                <a:gd name="T70" fmla="*/ 94 w 699"/>
                <a:gd name="T71" fmla="*/ 521 h 691"/>
                <a:gd name="T72" fmla="*/ 102 w 699"/>
                <a:gd name="T73" fmla="*/ 533 h 691"/>
                <a:gd name="T74" fmla="*/ 110 w 699"/>
                <a:gd name="T75" fmla="*/ 600 h 691"/>
                <a:gd name="T76" fmla="*/ 167 w 699"/>
                <a:gd name="T77" fmla="*/ 596 h 691"/>
                <a:gd name="T78" fmla="*/ 173 w 699"/>
                <a:gd name="T79" fmla="*/ 635 h 691"/>
                <a:gd name="T80" fmla="*/ 193 w 699"/>
                <a:gd name="T81" fmla="*/ 657 h 691"/>
                <a:gd name="T82" fmla="*/ 245 w 699"/>
                <a:gd name="T83" fmla="*/ 638 h 691"/>
                <a:gd name="T84" fmla="*/ 261 w 699"/>
                <a:gd name="T85" fmla="*/ 642 h 691"/>
                <a:gd name="T86" fmla="*/ 307 w 699"/>
                <a:gd name="T87" fmla="*/ 691 h 691"/>
                <a:gd name="T88" fmla="*/ 358 w 699"/>
                <a:gd name="T89" fmla="*/ 655 h 691"/>
                <a:gd name="T90" fmla="*/ 394 w 699"/>
                <a:gd name="T91" fmla="*/ 691 h 691"/>
                <a:gd name="T92" fmla="*/ 440 w 699"/>
                <a:gd name="T93" fmla="*/ 642 h 691"/>
                <a:gd name="T94" fmla="*/ 454 w 699"/>
                <a:gd name="T95" fmla="*/ 637 h 691"/>
                <a:gd name="T96" fmla="*/ 508 w 699"/>
                <a:gd name="T97" fmla="*/ 657 h 691"/>
                <a:gd name="T98" fmla="*/ 528 w 699"/>
                <a:gd name="T99" fmla="*/ 636 h 691"/>
                <a:gd name="T100" fmla="*/ 539 w 699"/>
                <a:gd name="T101" fmla="*/ 592 h 691"/>
                <a:gd name="T102" fmla="*/ 606 w 699"/>
                <a:gd name="T103" fmla="*/ 584 h 691"/>
                <a:gd name="T104" fmla="*/ 602 w 699"/>
                <a:gd name="T105" fmla="*/ 528 h 691"/>
                <a:gd name="T106" fmla="*/ 643 w 699"/>
                <a:gd name="T107" fmla="*/ 522 h 691"/>
                <a:gd name="T108" fmla="*/ 667 w 699"/>
                <a:gd name="T109" fmla="*/ 478 h 691"/>
                <a:gd name="T110" fmla="*/ 648 w 699"/>
                <a:gd name="T111" fmla="*/ 441 h 691"/>
                <a:gd name="T112" fmla="*/ 696 w 699"/>
                <a:gd name="T113" fmla="*/ 410 h 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99" h="691">
                  <a:moveTo>
                    <a:pt x="692" y="374"/>
                  </a:moveTo>
                  <a:cubicBezTo>
                    <a:pt x="662" y="354"/>
                    <a:pt x="662" y="354"/>
                    <a:pt x="662" y="354"/>
                  </a:cubicBezTo>
                  <a:cubicBezTo>
                    <a:pt x="662" y="347"/>
                    <a:pt x="662" y="347"/>
                    <a:pt x="662" y="347"/>
                  </a:cubicBezTo>
                  <a:cubicBezTo>
                    <a:pt x="662" y="346"/>
                    <a:pt x="662" y="346"/>
                    <a:pt x="662" y="345"/>
                  </a:cubicBezTo>
                  <a:cubicBezTo>
                    <a:pt x="662" y="339"/>
                    <a:pt x="662" y="339"/>
                    <a:pt x="662" y="339"/>
                  </a:cubicBezTo>
                  <a:cubicBezTo>
                    <a:pt x="691" y="320"/>
                    <a:pt x="691" y="320"/>
                    <a:pt x="691" y="320"/>
                  </a:cubicBezTo>
                  <a:cubicBezTo>
                    <a:pt x="696" y="316"/>
                    <a:pt x="699" y="310"/>
                    <a:pt x="698" y="304"/>
                  </a:cubicBezTo>
                  <a:cubicBezTo>
                    <a:pt x="696" y="282"/>
                    <a:pt x="696" y="282"/>
                    <a:pt x="696" y="282"/>
                  </a:cubicBezTo>
                  <a:cubicBezTo>
                    <a:pt x="695" y="276"/>
                    <a:pt x="691" y="271"/>
                    <a:pt x="684" y="269"/>
                  </a:cubicBezTo>
                  <a:cubicBezTo>
                    <a:pt x="650" y="259"/>
                    <a:pt x="650" y="259"/>
                    <a:pt x="650" y="259"/>
                  </a:cubicBezTo>
                  <a:cubicBezTo>
                    <a:pt x="650" y="259"/>
                    <a:pt x="650" y="259"/>
                    <a:pt x="650" y="258"/>
                  </a:cubicBezTo>
                  <a:cubicBezTo>
                    <a:pt x="645" y="243"/>
                    <a:pt x="645" y="243"/>
                    <a:pt x="645" y="243"/>
                  </a:cubicBezTo>
                  <a:cubicBezTo>
                    <a:pt x="667" y="215"/>
                    <a:pt x="667" y="215"/>
                    <a:pt x="667" y="215"/>
                  </a:cubicBezTo>
                  <a:cubicBezTo>
                    <a:pt x="671" y="211"/>
                    <a:pt x="671" y="204"/>
                    <a:pt x="668" y="198"/>
                  </a:cubicBezTo>
                  <a:cubicBezTo>
                    <a:pt x="663" y="188"/>
                    <a:pt x="663" y="188"/>
                    <a:pt x="663" y="188"/>
                  </a:cubicBezTo>
                  <a:cubicBezTo>
                    <a:pt x="663" y="187"/>
                    <a:pt x="663" y="187"/>
                    <a:pt x="662" y="186"/>
                  </a:cubicBezTo>
                  <a:cubicBezTo>
                    <a:pt x="657" y="179"/>
                    <a:pt x="657" y="179"/>
                    <a:pt x="657" y="179"/>
                  </a:cubicBezTo>
                  <a:cubicBezTo>
                    <a:pt x="654" y="174"/>
                    <a:pt x="649" y="171"/>
                    <a:pt x="644" y="171"/>
                  </a:cubicBezTo>
                  <a:cubicBezTo>
                    <a:pt x="607" y="171"/>
                    <a:pt x="607" y="171"/>
                    <a:pt x="607" y="171"/>
                  </a:cubicBezTo>
                  <a:cubicBezTo>
                    <a:pt x="603" y="165"/>
                    <a:pt x="603" y="165"/>
                    <a:pt x="603" y="165"/>
                  </a:cubicBezTo>
                  <a:cubicBezTo>
                    <a:pt x="603" y="165"/>
                    <a:pt x="602" y="165"/>
                    <a:pt x="602" y="165"/>
                  </a:cubicBezTo>
                  <a:cubicBezTo>
                    <a:pt x="599" y="160"/>
                    <a:pt x="599" y="160"/>
                    <a:pt x="599" y="160"/>
                  </a:cubicBezTo>
                  <a:cubicBezTo>
                    <a:pt x="610" y="126"/>
                    <a:pt x="610" y="126"/>
                    <a:pt x="610" y="126"/>
                  </a:cubicBezTo>
                  <a:cubicBezTo>
                    <a:pt x="612" y="120"/>
                    <a:pt x="610" y="113"/>
                    <a:pt x="606" y="109"/>
                  </a:cubicBezTo>
                  <a:cubicBezTo>
                    <a:pt x="591" y="94"/>
                    <a:pt x="591" y="94"/>
                    <a:pt x="591" y="94"/>
                  </a:cubicBezTo>
                  <a:cubicBezTo>
                    <a:pt x="586" y="89"/>
                    <a:pt x="580" y="88"/>
                    <a:pt x="574" y="90"/>
                  </a:cubicBezTo>
                  <a:cubicBezTo>
                    <a:pt x="540" y="101"/>
                    <a:pt x="540" y="101"/>
                    <a:pt x="540" y="101"/>
                  </a:cubicBezTo>
                  <a:cubicBezTo>
                    <a:pt x="540" y="101"/>
                    <a:pt x="539" y="101"/>
                    <a:pt x="539" y="100"/>
                  </a:cubicBezTo>
                  <a:cubicBezTo>
                    <a:pt x="533" y="97"/>
                    <a:pt x="533" y="97"/>
                    <a:pt x="533" y="97"/>
                  </a:cubicBezTo>
                  <a:cubicBezTo>
                    <a:pt x="528" y="93"/>
                    <a:pt x="528" y="93"/>
                    <a:pt x="528" y="93"/>
                  </a:cubicBezTo>
                  <a:cubicBezTo>
                    <a:pt x="528" y="56"/>
                    <a:pt x="528" y="56"/>
                    <a:pt x="528" y="56"/>
                  </a:cubicBezTo>
                  <a:cubicBezTo>
                    <a:pt x="528" y="50"/>
                    <a:pt x="525" y="44"/>
                    <a:pt x="519" y="42"/>
                  </a:cubicBezTo>
                  <a:cubicBezTo>
                    <a:pt x="509" y="37"/>
                    <a:pt x="509" y="37"/>
                    <a:pt x="509" y="37"/>
                  </a:cubicBezTo>
                  <a:cubicBezTo>
                    <a:pt x="509" y="36"/>
                    <a:pt x="509" y="36"/>
                    <a:pt x="508" y="36"/>
                  </a:cubicBezTo>
                  <a:cubicBezTo>
                    <a:pt x="499" y="32"/>
                    <a:pt x="499" y="32"/>
                    <a:pt x="499" y="32"/>
                  </a:cubicBezTo>
                  <a:cubicBezTo>
                    <a:pt x="494" y="30"/>
                    <a:pt x="488" y="31"/>
                    <a:pt x="484" y="34"/>
                  </a:cubicBezTo>
                  <a:cubicBezTo>
                    <a:pt x="454" y="55"/>
                    <a:pt x="454" y="55"/>
                    <a:pt x="454" y="55"/>
                  </a:cubicBezTo>
                  <a:cubicBezTo>
                    <a:pt x="449" y="53"/>
                    <a:pt x="449" y="53"/>
                    <a:pt x="449" y="53"/>
                  </a:cubicBezTo>
                  <a:cubicBezTo>
                    <a:pt x="448" y="52"/>
                    <a:pt x="447" y="52"/>
                    <a:pt x="447" y="52"/>
                  </a:cubicBezTo>
                  <a:cubicBezTo>
                    <a:pt x="440" y="50"/>
                    <a:pt x="440" y="50"/>
                    <a:pt x="440" y="50"/>
                  </a:cubicBezTo>
                  <a:cubicBezTo>
                    <a:pt x="428" y="16"/>
                    <a:pt x="428" y="16"/>
                    <a:pt x="428" y="16"/>
                  </a:cubicBezTo>
                  <a:cubicBezTo>
                    <a:pt x="427" y="11"/>
                    <a:pt x="422" y="7"/>
                    <a:pt x="417" y="6"/>
                  </a:cubicBezTo>
                  <a:cubicBezTo>
                    <a:pt x="407" y="3"/>
                    <a:pt x="407" y="3"/>
                    <a:pt x="407" y="3"/>
                  </a:cubicBezTo>
                  <a:cubicBezTo>
                    <a:pt x="406" y="3"/>
                    <a:pt x="405" y="3"/>
                    <a:pt x="405" y="3"/>
                  </a:cubicBezTo>
                  <a:cubicBezTo>
                    <a:pt x="394" y="1"/>
                    <a:pt x="394" y="1"/>
                    <a:pt x="394" y="1"/>
                  </a:cubicBezTo>
                  <a:cubicBezTo>
                    <a:pt x="388" y="1"/>
                    <a:pt x="383" y="3"/>
                    <a:pt x="379" y="8"/>
                  </a:cubicBezTo>
                  <a:cubicBezTo>
                    <a:pt x="359" y="38"/>
                    <a:pt x="359" y="38"/>
                    <a:pt x="359" y="38"/>
                  </a:cubicBezTo>
                  <a:cubicBezTo>
                    <a:pt x="352" y="37"/>
                    <a:pt x="352" y="37"/>
                    <a:pt x="352" y="37"/>
                  </a:cubicBezTo>
                  <a:cubicBezTo>
                    <a:pt x="352" y="37"/>
                    <a:pt x="351" y="37"/>
                    <a:pt x="350" y="37"/>
                  </a:cubicBezTo>
                  <a:cubicBezTo>
                    <a:pt x="342" y="38"/>
                    <a:pt x="342" y="38"/>
                    <a:pt x="342" y="38"/>
                  </a:cubicBezTo>
                  <a:cubicBezTo>
                    <a:pt x="322" y="8"/>
                    <a:pt x="322" y="8"/>
                    <a:pt x="322" y="8"/>
                  </a:cubicBezTo>
                  <a:cubicBezTo>
                    <a:pt x="318" y="3"/>
                    <a:pt x="312" y="0"/>
                    <a:pt x="306" y="2"/>
                  </a:cubicBezTo>
                  <a:cubicBezTo>
                    <a:pt x="285" y="5"/>
                    <a:pt x="285" y="5"/>
                    <a:pt x="285" y="5"/>
                  </a:cubicBezTo>
                  <a:cubicBezTo>
                    <a:pt x="279" y="7"/>
                    <a:pt x="275" y="11"/>
                    <a:pt x="273" y="16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1" y="50"/>
                    <a:pt x="261" y="50"/>
                    <a:pt x="261" y="50"/>
                  </a:cubicBezTo>
                  <a:cubicBezTo>
                    <a:pt x="253" y="52"/>
                    <a:pt x="253" y="52"/>
                    <a:pt x="253" y="52"/>
                  </a:cubicBezTo>
                  <a:cubicBezTo>
                    <a:pt x="253" y="52"/>
                    <a:pt x="253" y="53"/>
                    <a:pt x="253" y="53"/>
                  </a:cubicBezTo>
                  <a:cubicBezTo>
                    <a:pt x="247" y="55"/>
                    <a:pt x="247" y="55"/>
                    <a:pt x="247" y="55"/>
                  </a:cubicBezTo>
                  <a:cubicBezTo>
                    <a:pt x="217" y="34"/>
                    <a:pt x="217" y="34"/>
                    <a:pt x="217" y="34"/>
                  </a:cubicBezTo>
                  <a:cubicBezTo>
                    <a:pt x="213" y="31"/>
                    <a:pt x="207" y="30"/>
                    <a:pt x="202" y="32"/>
                  </a:cubicBezTo>
                  <a:cubicBezTo>
                    <a:pt x="193" y="36"/>
                    <a:pt x="193" y="36"/>
                    <a:pt x="193" y="36"/>
                  </a:cubicBezTo>
                  <a:cubicBezTo>
                    <a:pt x="192" y="36"/>
                    <a:pt x="192" y="36"/>
                    <a:pt x="192" y="37"/>
                  </a:cubicBezTo>
                  <a:cubicBezTo>
                    <a:pt x="181" y="42"/>
                    <a:pt x="181" y="42"/>
                    <a:pt x="181" y="42"/>
                  </a:cubicBezTo>
                  <a:cubicBezTo>
                    <a:pt x="176" y="45"/>
                    <a:pt x="172" y="50"/>
                    <a:pt x="173" y="57"/>
                  </a:cubicBezTo>
                  <a:cubicBezTo>
                    <a:pt x="174" y="93"/>
                    <a:pt x="174" y="93"/>
                    <a:pt x="174" y="93"/>
                  </a:cubicBezTo>
                  <a:cubicBezTo>
                    <a:pt x="162" y="101"/>
                    <a:pt x="162" y="101"/>
                    <a:pt x="162" y="101"/>
                  </a:cubicBezTo>
                  <a:cubicBezTo>
                    <a:pt x="127" y="90"/>
                    <a:pt x="127" y="90"/>
                    <a:pt x="127" y="90"/>
                  </a:cubicBezTo>
                  <a:cubicBezTo>
                    <a:pt x="121" y="88"/>
                    <a:pt x="115" y="89"/>
                    <a:pt x="110" y="94"/>
                  </a:cubicBezTo>
                  <a:cubicBezTo>
                    <a:pt x="95" y="109"/>
                    <a:pt x="95" y="109"/>
                    <a:pt x="95" y="109"/>
                  </a:cubicBezTo>
                  <a:cubicBezTo>
                    <a:pt x="90" y="113"/>
                    <a:pt x="89" y="120"/>
                    <a:pt x="91" y="126"/>
                  </a:cubicBezTo>
                  <a:cubicBezTo>
                    <a:pt x="102" y="159"/>
                    <a:pt x="102" y="159"/>
                    <a:pt x="102" y="159"/>
                  </a:cubicBezTo>
                  <a:cubicBezTo>
                    <a:pt x="102" y="159"/>
                    <a:pt x="102" y="160"/>
                    <a:pt x="101" y="160"/>
                  </a:cubicBezTo>
                  <a:cubicBezTo>
                    <a:pt x="98" y="166"/>
                    <a:pt x="98" y="166"/>
                    <a:pt x="98" y="166"/>
                  </a:cubicBezTo>
                  <a:cubicBezTo>
                    <a:pt x="94" y="171"/>
                    <a:pt x="94" y="171"/>
                    <a:pt x="94" y="171"/>
                  </a:cubicBezTo>
                  <a:cubicBezTo>
                    <a:pt x="57" y="171"/>
                    <a:pt x="57" y="171"/>
                    <a:pt x="57" y="171"/>
                  </a:cubicBezTo>
                  <a:cubicBezTo>
                    <a:pt x="52" y="171"/>
                    <a:pt x="47" y="174"/>
                    <a:pt x="44" y="179"/>
                  </a:cubicBezTo>
                  <a:cubicBezTo>
                    <a:pt x="39" y="186"/>
                    <a:pt x="39" y="186"/>
                    <a:pt x="39" y="186"/>
                  </a:cubicBezTo>
                  <a:cubicBezTo>
                    <a:pt x="38" y="187"/>
                    <a:pt x="38" y="187"/>
                    <a:pt x="38" y="188"/>
                  </a:cubicBezTo>
                  <a:cubicBezTo>
                    <a:pt x="32" y="198"/>
                    <a:pt x="32" y="198"/>
                    <a:pt x="32" y="198"/>
                  </a:cubicBezTo>
                  <a:cubicBezTo>
                    <a:pt x="30" y="204"/>
                    <a:pt x="30" y="211"/>
                    <a:pt x="34" y="215"/>
                  </a:cubicBezTo>
                  <a:cubicBezTo>
                    <a:pt x="56" y="243"/>
                    <a:pt x="56" y="243"/>
                    <a:pt x="56" y="243"/>
                  </a:cubicBezTo>
                  <a:cubicBezTo>
                    <a:pt x="53" y="251"/>
                    <a:pt x="53" y="251"/>
                    <a:pt x="53" y="251"/>
                  </a:cubicBezTo>
                  <a:cubicBezTo>
                    <a:pt x="53" y="251"/>
                    <a:pt x="53" y="252"/>
                    <a:pt x="53" y="252"/>
                  </a:cubicBezTo>
                  <a:cubicBezTo>
                    <a:pt x="52" y="258"/>
                    <a:pt x="52" y="258"/>
                    <a:pt x="52" y="258"/>
                  </a:cubicBezTo>
                  <a:cubicBezTo>
                    <a:pt x="17" y="269"/>
                    <a:pt x="17" y="269"/>
                    <a:pt x="17" y="269"/>
                  </a:cubicBezTo>
                  <a:cubicBezTo>
                    <a:pt x="11" y="270"/>
                    <a:pt x="7" y="275"/>
                    <a:pt x="5" y="280"/>
                  </a:cubicBezTo>
                  <a:cubicBezTo>
                    <a:pt x="3" y="291"/>
                    <a:pt x="3" y="291"/>
                    <a:pt x="3" y="291"/>
                  </a:cubicBezTo>
                  <a:cubicBezTo>
                    <a:pt x="3" y="291"/>
                    <a:pt x="3" y="292"/>
                    <a:pt x="2" y="293"/>
                  </a:cubicBezTo>
                  <a:cubicBezTo>
                    <a:pt x="1" y="304"/>
                    <a:pt x="1" y="304"/>
                    <a:pt x="1" y="304"/>
                  </a:cubicBezTo>
                  <a:cubicBezTo>
                    <a:pt x="1" y="310"/>
                    <a:pt x="3" y="316"/>
                    <a:pt x="9" y="320"/>
                  </a:cubicBezTo>
                  <a:cubicBezTo>
                    <a:pt x="39" y="339"/>
                    <a:pt x="39" y="339"/>
                    <a:pt x="39" y="339"/>
                  </a:cubicBezTo>
                  <a:cubicBezTo>
                    <a:pt x="39" y="345"/>
                    <a:pt x="39" y="345"/>
                    <a:pt x="39" y="345"/>
                  </a:cubicBezTo>
                  <a:cubicBezTo>
                    <a:pt x="38" y="346"/>
                    <a:pt x="38" y="346"/>
                    <a:pt x="39" y="347"/>
                  </a:cubicBezTo>
                  <a:cubicBezTo>
                    <a:pt x="39" y="353"/>
                    <a:pt x="39" y="353"/>
                    <a:pt x="39" y="353"/>
                  </a:cubicBezTo>
                  <a:cubicBezTo>
                    <a:pt x="8" y="374"/>
                    <a:pt x="8" y="374"/>
                    <a:pt x="8" y="374"/>
                  </a:cubicBezTo>
                  <a:cubicBezTo>
                    <a:pt x="3" y="377"/>
                    <a:pt x="0" y="384"/>
                    <a:pt x="1" y="390"/>
                  </a:cubicBezTo>
                  <a:cubicBezTo>
                    <a:pt x="5" y="411"/>
                    <a:pt x="5" y="411"/>
                    <a:pt x="5" y="411"/>
                  </a:cubicBezTo>
                  <a:cubicBezTo>
                    <a:pt x="6" y="417"/>
                    <a:pt x="10" y="421"/>
                    <a:pt x="16" y="423"/>
                  </a:cubicBezTo>
                  <a:cubicBezTo>
                    <a:pt x="52" y="435"/>
                    <a:pt x="52" y="435"/>
                    <a:pt x="52" y="435"/>
                  </a:cubicBezTo>
                  <a:cubicBezTo>
                    <a:pt x="53" y="440"/>
                    <a:pt x="53" y="440"/>
                    <a:pt x="53" y="440"/>
                  </a:cubicBezTo>
                  <a:cubicBezTo>
                    <a:pt x="53" y="441"/>
                    <a:pt x="53" y="442"/>
                    <a:pt x="54" y="443"/>
                  </a:cubicBezTo>
                  <a:cubicBezTo>
                    <a:pt x="56" y="449"/>
                    <a:pt x="56" y="449"/>
                    <a:pt x="56" y="449"/>
                  </a:cubicBezTo>
                  <a:cubicBezTo>
                    <a:pt x="34" y="478"/>
                    <a:pt x="34" y="478"/>
                    <a:pt x="34" y="478"/>
                  </a:cubicBezTo>
                  <a:cubicBezTo>
                    <a:pt x="30" y="483"/>
                    <a:pt x="30" y="490"/>
                    <a:pt x="33" y="496"/>
                  </a:cubicBezTo>
                  <a:cubicBezTo>
                    <a:pt x="43" y="514"/>
                    <a:pt x="43" y="514"/>
                    <a:pt x="43" y="514"/>
                  </a:cubicBezTo>
                  <a:cubicBezTo>
                    <a:pt x="46" y="519"/>
                    <a:pt x="52" y="522"/>
                    <a:pt x="58" y="522"/>
                  </a:cubicBezTo>
                  <a:cubicBezTo>
                    <a:pt x="94" y="521"/>
                    <a:pt x="94" y="521"/>
                    <a:pt x="94" y="521"/>
                  </a:cubicBezTo>
                  <a:cubicBezTo>
                    <a:pt x="98" y="527"/>
                    <a:pt x="98" y="527"/>
                    <a:pt x="98" y="527"/>
                  </a:cubicBezTo>
                  <a:cubicBezTo>
                    <a:pt x="98" y="528"/>
                    <a:pt x="98" y="528"/>
                    <a:pt x="99" y="529"/>
                  </a:cubicBezTo>
                  <a:cubicBezTo>
                    <a:pt x="102" y="533"/>
                    <a:pt x="102" y="533"/>
                    <a:pt x="102" y="533"/>
                  </a:cubicBezTo>
                  <a:cubicBezTo>
                    <a:pt x="91" y="568"/>
                    <a:pt x="91" y="568"/>
                    <a:pt x="91" y="568"/>
                  </a:cubicBezTo>
                  <a:cubicBezTo>
                    <a:pt x="89" y="573"/>
                    <a:pt x="90" y="580"/>
                    <a:pt x="95" y="584"/>
                  </a:cubicBezTo>
                  <a:cubicBezTo>
                    <a:pt x="110" y="600"/>
                    <a:pt x="110" y="600"/>
                    <a:pt x="110" y="600"/>
                  </a:cubicBezTo>
                  <a:cubicBezTo>
                    <a:pt x="115" y="604"/>
                    <a:pt x="121" y="605"/>
                    <a:pt x="127" y="603"/>
                  </a:cubicBezTo>
                  <a:cubicBezTo>
                    <a:pt x="162" y="592"/>
                    <a:pt x="162" y="592"/>
                    <a:pt x="162" y="592"/>
                  </a:cubicBezTo>
                  <a:cubicBezTo>
                    <a:pt x="167" y="596"/>
                    <a:pt x="167" y="596"/>
                    <a:pt x="167" y="596"/>
                  </a:cubicBezTo>
                  <a:cubicBezTo>
                    <a:pt x="167" y="596"/>
                    <a:pt x="168" y="596"/>
                    <a:pt x="168" y="596"/>
                  </a:cubicBezTo>
                  <a:cubicBezTo>
                    <a:pt x="174" y="600"/>
                    <a:pt x="174" y="600"/>
                    <a:pt x="174" y="600"/>
                  </a:cubicBezTo>
                  <a:cubicBezTo>
                    <a:pt x="173" y="635"/>
                    <a:pt x="173" y="635"/>
                    <a:pt x="173" y="635"/>
                  </a:cubicBezTo>
                  <a:cubicBezTo>
                    <a:pt x="172" y="641"/>
                    <a:pt x="175" y="647"/>
                    <a:pt x="180" y="650"/>
                  </a:cubicBezTo>
                  <a:cubicBezTo>
                    <a:pt x="190" y="656"/>
                    <a:pt x="190" y="656"/>
                    <a:pt x="190" y="656"/>
                  </a:cubicBezTo>
                  <a:cubicBezTo>
                    <a:pt x="191" y="656"/>
                    <a:pt x="192" y="657"/>
                    <a:pt x="193" y="657"/>
                  </a:cubicBezTo>
                  <a:cubicBezTo>
                    <a:pt x="202" y="661"/>
                    <a:pt x="202" y="661"/>
                    <a:pt x="202" y="661"/>
                  </a:cubicBezTo>
                  <a:cubicBezTo>
                    <a:pt x="207" y="663"/>
                    <a:pt x="213" y="663"/>
                    <a:pt x="218" y="659"/>
                  </a:cubicBezTo>
                  <a:cubicBezTo>
                    <a:pt x="245" y="638"/>
                    <a:pt x="245" y="638"/>
                    <a:pt x="245" y="638"/>
                  </a:cubicBezTo>
                  <a:cubicBezTo>
                    <a:pt x="246" y="639"/>
                    <a:pt x="247" y="639"/>
                    <a:pt x="248" y="639"/>
                  </a:cubicBezTo>
                  <a:cubicBezTo>
                    <a:pt x="254" y="640"/>
                    <a:pt x="254" y="640"/>
                    <a:pt x="254" y="640"/>
                  </a:cubicBezTo>
                  <a:cubicBezTo>
                    <a:pt x="261" y="642"/>
                    <a:pt x="261" y="642"/>
                    <a:pt x="261" y="642"/>
                  </a:cubicBezTo>
                  <a:cubicBezTo>
                    <a:pt x="273" y="677"/>
                    <a:pt x="273" y="677"/>
                    <a:pt x="273" y="677"/>
                  </a:cubicBezTo>
                  <a:cubicBezTo>
                    <a:pt x="275" y="683"/>
                    <a:pt x="280" y="687"/>
                    <a:pt x="286" y="688"/>
                  </a:cubicBezTo>
                  <a:cubicBezTo>
                    <a:pt x="307" y="691"/>
                    <a:pt x="307" y="691"/>
                    <a:pt x="307" y="691"/>
                  </a:cubicBezTo>
                  <a:cubicBezTo>
                    <a:pt x="312" y="691"/>
                    <a:pt x="318" y="689"/>
                    <a:pt x="322" y="684"/>
                  </a:cubicBezTo>
                  <a:cubicBezTo>
                    <a:pt x="343" y="655"/>
                    <a:pt x="343" y="655"/>
                    <a:pt x="343" y="655"/>
                  </a:cubicBezTo>
                  <a:cubicBezTo>
                    <a:pt x="358" y="655"/>
                    <a:pt x="358" y="655"/>
                    <a:pt x="358" y="655"/>
                  </a:cubicBezTo>
                  <a:cubicBezTo>
                    <a:pt x="379" y="684"/>
                    <a:pt x="379" y="684"/>
                    <a:pt x="379" y="684"/>
                  </a:cubicBezTo>
                  <a:cubicBezTo>
                    <a:pt x="382" y="688"/>
                    <a:pt x="387" y="691"/>
                    <a:pt x="392" y="691"/>
                  </a:cubicBezTo>
                  <a:cubicBezTo>
                    <a:pt x="393" y="691"/>
                    <a:pt x="394" y="691"/>
                    <a:pt x="394" y="691"/>
                  </a:cubicBezTo>
                  <a:cubicBezTo>
                    <a:pt x="415" y="688"/>
                    <a:pt x="415" y="688"/>
                    <a:pt x="415" y="688"/>
                  </a:cubicBezTo>
                  <a:cubicBezTo>
                    <a:pt x="421" y="687"/>
                    <a:pt x="426" y="683"/>
                    <a:pt x="428" y="677"/>
                  </a:cubicBezTo>
                  <a:cubicBezTo>
                    <a:pt x="440" y="642"/>
                    <a:pt x="440" y="642"/>
                    <a:pt x="440" y="642"/>
                  </a:cubicBezTo>
                  <a:cubicBezTo>
                    <a:pt x="448" y="640"/>
                    <a:pt x="448" y="640"/>
                    <a:pt x="448" y="640"/>
                  </a:cubicBezTo>
                  <a:cubicBezTo>
                    <a:pt x="448" y="640"/>
                    <a:pt x="448" y="639"/>
                    <a:pt x="448" y="639"/>
                  </a:cubicBezTo>
                  <a:cubicBezTo>
                    <a:pt x="454" y="637"/>
                    <a:pt x="454" y="637"/>
                    <a:pt x="454" y="637"/>
                  </a:cubicBezTo>
                  <a:cubicBezTo>
                    <a:pt x="483" y="659"/>
                    <a:pt x="483" y="659"/>
                    <a:pt x="483" y="659"/>
                  </a:cubicBezTo>
                  <a:cubicBezTo>
                    <a:pt x="488" y="663"/>
                    <a:pt x="494" y="663"/>
                    <a:pt x="499" y="661"/>
                  </a:cubicBezTo>
                  <a:cubicBezTo>
                    <a:pt x="508" y="657"/>
                    <a:pt x="508" y="657"/>
                    <a:pt x="508" y="657"/>
                  </a:cubicBezTo>
                  <a:cubicBezTo>
                    <a:pt x="509" y="657"/>
                    <a:pt x="510" y="656"/>
                    <a:pt x="510" y="656"/>
                  </a:cubicBezTo>
                  <a:cubicBezTo>
                    <a:pt x="521" y="650"/>
                    <a:pt x="521" y="650"/>
                    <a:pt x="521" y="650"/>
                  </a:cubicBezTo>
                  <a:cubicBezTo>
                    <a:pt x="525" y="647"/>
                    <a:pt x="528" y="641"/>
                    <a:pt x="528" y="636"/>
                  </a:cubicBezTo>
                  <a:cubicBezTo>
                    <a:pt x="528" y="600"/>
                    <a:pt x="528" y="600"/>
                    <a:pt x="528" y="600"/>
                  </a:cubicBezTo>
                  <a:cubicBezTo>
                    <a:pt x="533" y="596"/>
                    <a:pt x="533" y="596"/>
                    <a:pt x="533" y="596"/>
                  </a:cubicBezTo>
                  <a:cubicBezTo>
                    <a:pt x="539" y="592"/>
                    <a:pt x="539" y="592"/>
                    <a:pt x="539" y="592"/>
                  </a:cubicBezTo>
                  <a:cubicBezTo>
                    <a:pt x="574" y="603"/>
                    <a:pt x="574" y="603"/>
                    <a:pt x="574" y="603"/>
                  </a:cubicBezTo>
                  <a:cubicBezTo>
                    <a:pt x="580" y="605"/>
                    <a:pt x="586" y="604"/>
                    <a:pt x="591" y="600"/>
                  </a:cubicBezTo>
                  <a:cubicBezTo>
                    <a:pt x="606" y="584"/>
                    <a:pt x="606" y="584"/>
                    <a:pt x="606" y="584"/>
                  </a:cubicBezTo>
                  <a:cubicBezTo>
                    <a:pt x="610" y="580"/>
                    <a:pt x="612" y="573"/>
                    <a:pt x="610" y="568"/>
                  </a:cubicBezTo>
                  <a:cubicBezTo>
                    <a:pt x="599" y="533"/>
                    <a:pt x="599" y="533"/>
                    <a:pt x="599" y="533"/>
                  </a:cubicBezTo>
                  <a:cubicBezTo>
                    <a:pt x="602" y="528"/>
                    <a:pt x="602" y="528"/>
                    <a:pt x="602" y="528"/>
                  </a:cubicBezTo>
                  <a:cubicBezTo>
                    <a:pt x="603" y="528"/>
                    <a:pt x="603" y="528"/>
                    <a:pt x="603" y="527"/>
                  </a:cubicBezTo>
                  <a:cubicBezTo>
                    <a:pt x="607" y="521"/>
                    <a:pt x="607" y="521"/>
                    <a:pt x="607" y="521"/>
                  </a:cubicBezTo>
                  <a:cubicBezTo>
                    <a:pt x="643" y="522"/>
                    <a:pt x="643" y="522"/>
                    <a:pt x="643" y="522"/>
                  </a:cubicBezTo>
                  <a:cubicBezTo>
                    <a:pt x="649" y="522"/>
                    <a:pt x="655" y="519"/>
                    <a:pt x="658" y="514"/>
                  </a:cubicBezTo>
                  <a:cubicBezTo>
                    <a:pt x="668" y="496"/>
                    <a:pt x="668" y="496"/>
                    <a:pt x="668" y="496"/>
                  </a:cubicBezTo>
                  <a:cubicBezTo>
                    <a:pt x="671" y="490"/>
                    <a:pt x="671" y="483"/>
                    <a:pt x="667" y="478"/>
                  </a:cubicBezTo>
                  <a:cubicBezTo>
                    <a:pt x="645" y="449"/>
                    <a:pt x="645" y="449"/>
                    <a:pt x="645" y="449"/>
                  </a:cubicBezTo>
                  <a:cubicBezTo>
                    <a:pt x="647" y="443"/>
                    <a:pt x="647" y="443"/>
                    <a:pt x="647" y="443"/>
                  </a:cubicBezTo>
                  <a:cubicBezTo>
                    <a:pt x="647" y="443"/>
                    <a:pt x="648" y="442"/>
                    <a:pt x="648" y="441"/>
                  </a:cubicBezTo>
                  <a:cubicBezTo>
                    <a:pt x="649" y="435"/>
                    <a:pt x="649" y="435"/>
                    <a:pt x="649" y="435"/>
                  </a:cubicBezTo>
                  <a:cubicBezTo>
                    <a:pt x="685" y="423"/>
                    <a:pt x="685" y="423"/>
                    <a:pt x="685" y="423"/>
                  </a:cubicBezTo>
                  <a:cubicBezTo>
                    <a:pt x="691" y="421"/>
                    <a:pt x="695" y="416"/>
                    <a:pt x="696" y="410"/>
                  </a:cubicBezTo>
                  <a:cubicBezTo>
                    <a:pt x="698" y="389"/>
                    <a:pt x="698" y="389"/>
                    <a:pt x="698" y="389"/>
                  </a:cubicBezTo>
                  <a:cubicBezTo>
                    <a:pt x="699" y="383"/>
                    <a:pt x="697" y="377"/>
                    <a:pt x="692" y="37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CH" sz="1600" dirty="0"/>
            </a:p>
          </p:txBody>
        </p:sp>
        <p:sp>
          <p:nvSpPr>
            <p:cNvPr id="11" name="Oval 15">
              <a:extLst>
                <a:ext uri="{FF2B5EF4-FFF2-40B4-BE49-F238E27FC236}">
                  <a16:creationId xmlns:a16="http://schemas.microsoft.com/office/drawing/2014/main" id="{32D61AEB-B9AE-41C4-9A9C-BA6B779158B4}"/>
                </a:ext>
              </a:extLst>
            </p:cNvPr>
            <p:cNvSpPr/>
            <p:nvPr/>
          </p:nvSpPr>
          <p:spPr>
            <a:xfrm>
              <a:off x="11696315" y="6362315"/>
              <a:ext cx="359032" cy="35903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</p:grpSp>
    </p:spTree>
    <p:extLst>
      <p:ext uri="{BB962C8B-B14F-4D97-AF65-F5344CB8AC3E}">
        <p14:creationId xmlns:p14="http://schemas.microsoft.com/office/powerpoint/2010/main" val="2489518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5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fr-CH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CH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A13FF3-A3B4-402D-91B1-C176C247EB92}" type="datetimeFigureOut">
              <a:rPr lang="fr-CH" smtClean="0"/>
              <a:t>05.04.2019</a:t>
            </a:fld>
            <a:endParaRPr lang="fr-CH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107053-0274-46BF-A48C-B751F6C03B80}" type="slidenum">
              <a:rPr lang="fr-CH" smtClean="0"/>
              <a:t>‹N°›</a:t>
            </a:fld>
            <a:endParaRPr lang="fr-CH"/>
          </a:p>
        </p:txBody>
      </p:sp>
      <p:sp>
        <p:nvSpPr>
          <p:cNvPr id="7" name="Freeform 6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" name="Freeform 7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9" name="Group 12">
            <a:extLst>
              <a:ext uri="{FF2B5EF4-FFF2-40B4-BE49-F238E27FC236}">
                <a16:creationId xmlns:a16="http://schemas.microsoft.com/office/drawing/2014/main" id="{45834D90-3971-4768-B5D1-810DF05A63F6}"/>
              </a:ext>
            </a:extLst>
          </p:cNvPr>
          <p:cNvGrpSpPr/>
          <p:nvPr userDrawn="1"/>
        </p:nvGrpSpPr>
        <p:grpSpPr>
          <a:xfrm>
            <a:off x="11588238" y="6254238"/>
            <a:ext cx="575187" cy="575187"/>
            <a:chOff x="11588238" y="6254238"/>
            <a:chExt cx="575187" cy="575187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24074008-D45B-4F91-AEE5-4C7F67B33226}"/>
                </a:ext>
              </a:extLst>
            </p:cNvPr>
            <p:cNvSpPr>
              <a:spLocks/>
            </p:cNvSpPr>
            <p:nvPr>
              <p:custDataLst>
                <p:tags r:id="rId1"/>
              </p:custDataLst>
            </p:nvPr>
          </p:nvSpPr>
          <p:spPr bwMode="gray">
            <a:xfrm>
              <a:off x="11588238" y="6254238"/>
              <a:ext cx="575187" cy="575187"/>
            </a:xfrm>
            <a:custGeom>
              <a:avLst/>
              <a:gdLst>
                <a:gd name="T0" fmla="*/ 662 w 699"/>
                <a:gd name="T1" fmla="*/ 347 h 691"/>
                <a:gd name="T2" fmla="*/ 691 w 699"/>
                <a:gd name="T3" fmla="*/ 320 h 691"/>
                <a:gd name="T4" fmla="*/ 684 w 699"/>
                <a:gd name="T5" fmla="*/ 269 h 691"/>
                <a:gd name="T6" fmla="*/ 645 w 699"/>
                <a:gd name="T7" fmla="*/ 243 h 691"/>
                <a:gd name="T8" fmla="*/ 663 w 699"/>
                <a:gd name="T9" fmla="*/ 188 h 691"/>
                <a:gd name="T10" fmla="*/ 644 w 699"/>
                <a:gd name="T11" fmla="*/ 171 h 691"/>
                <a:gd name="T12" fmla="*/ 602 w 699"/>
                <a:gd name="T13" fmla="*/ 165 h 691"/>
                <a:gd name="T14" fmla="*/ 606 w 699"/>
                <a:gd name="T15" fmla="*/ 109 h 691"/>
                <a:gd name="T16" fmla="*/ 540 w 699"/>
                <a:gd name="T17" fmla="*/ 101 h 691"/>
                <a:gd name="T18" fmla="*/ 528 w 699"/>
                <a:gd name="T19" fmla="*/ 93 h 691"/>
                <a:gd name="T20" fmla="*/ 509 w 699"/>
                <a:gd name="T21" fmla="*/ 37 h 691"/>
                <a:gd name="T22" fmla="*/ 484 w 699"/>
                <a:gd name="T23" fmla="*/ 34 h 691"/>
                <a:gd name="T24" fmla="*/ 447 w 699"/>
                <a:gd name="T25" fmla="*/ 52 h 691"/>
                <a:gd name="T26" fmla="*/ 417 w 699"/>
                <a:gd name="T27" fmla="*/ 6 h 691"/>
                <a:gd name="T28" fmla="*/ 394 w 699"/>
                <a:gd name="T29" fmla="*/ 1 h 691"/>
                <a:gd name="T30" fmla="*/ 352 w 699"/>
                <a:gd name="T31" fmla="*/ 37 h 691"/>
                <a:gd name="T32" fmla="*/ 322 w 699"/>
                <a:gd name="T33" fmla="*/ 8 h 691"/>
                <a:gd name="T34" fmla="*/ 273 w 699"/>
                <a:gd name="T35" fmla="*/ 16 h 691"/>
                <a:gd name="T36" fmla="*/ 253 w 699"/>
                <a:gd name="T37" fmla="*/ 52 h 691"/>
                <a:gd name="T38" fmla="*/ 217 w 699"/>
                <a:gd name="T39" fmla="*/ 34 h 691"/>
                <a:gd name="T40" fmla="*/ 192 w 699"/>
                <a:gd name="T41" fmla="*/ 37 h 691"/>
                <a:gd name="T42" fmla="*/ 174 w 699"/>
                <a:gd name="T43" fmla="*/ 93 h 691"/>
                <a:gd name="T44" fmla="*/ 110 w 699"/>
                <a:gd name="T45" fmla="*/ 94 h 691"/>
                <a:gd name="T46" fmla="*/ 102 w 699"/>
                <a:gd name="T47" fmla="*/ 159 h 691"/>
                <a:gd name="T48" fmla="*/ 94 w 699"/>
                <a:gd name="T49" fmla="*/ 171 h 691"/>
                <a:gd name="T50" fmla="*/ 39 w 699"/>
                <a:gd name="T51" fmla="*/ 186 h 691"/>
                <a:gd name="T52" fmla="*/ 34 w 699"/>
                <a:gd name="T53" fmla="*/ 215 h 691"/>
                <a:gd name="T54" fmla="*/ 53 w 699"/>
                <a:gd name="T55" fmla="*/ 252 h 691"/>
                <a:gd name="T56" fmla="*/ 5 w 699"/>
                <a:gd name="T57" fmla="*/ 280 h 691"/>
                <a:gd name="T58" fmla="*/ 1 w 699"/>
                <a:gd name="T59" fmla="*/ 304 h 691"/>
                <a:gd name="T60" fmla="*/ 39 w 699"/>
                <a:gd name="T61" fmla="*/ 345 h 691"/>
                <a:gd name="T62" fmla="*/ 8 w 699"/>
                <a:gd name="T63" fmla="*/ 374 h 691"/>
                <a:gd name="T64" fmla="*/ 16 w 699"/>
                <a:gd name="T65" fmla="*/ 423 h 691"/>
                <a:gd name="T66" fmla="*/ 54 w 699"/>
                <a:gd name="T67" fmla="*/ 443 h 691"/>
                <a:gd name="T68" fmla="*/ 33 w 699"/>
                <a:gd name="T69" fmla="*/ 496 h 691"/>
                <a:gd name="T70" fmla="*/ 94 w 699"/>
                <a:gd name="T71" fmla="*/ 521 h 691"/>
                <a:gd name="T72" fmla="*/ 102 w 699"/>
                <a:gd name="T73" fmla="*/ 533 h 691"/>
                <a:gd name="T74" fmla="*/ 110 w 699"/>
                <a:gd name="T75" fmla="*/ 600 h 691"/>
                <a:gd name="T76" fmla="*/ 167 w 699"/>
                <a:gd name="T77" fmla="*/ 596 h 691"/>
                <a:gd name="T78" fmla="*/ 173 w 699"/>
                <a:gd name="T79" fmla="*/ 635 h 691"/>
                <a:gd name="T80" fmla="*/ 193 w 699"/>
                <a:gd name="T81" fmla="*/ 657 h 691"/>
                <a:gd name="T82" fmla="*/ 245 w 699"/>
                <a:gd name="T83" fmla="*/ 638 h 691"/>
                <a:gd name="T84" fmla="*/ 261 w 699"/>
                <a:gd name="T85" fmla="*/ 642 h 691"/>
                <a:gd name="T86" fmla="*/ 307 w 699"/>
                <a:gd name="T87" fmla="*/ 691 h 691"/>
                <a:gd name="T88" fmla="*/ 358 w 699"/>
                <a:gd name="T89" fmla="*/ 655 h 691"/>
                <a:gd name="T90" fmla="*/ 394 w 699"/>
                <a:gd name="T91" fmla="*/ 691 h 691"/>
                <a:gd name="T92" fmla="*/ 440 w 699"/>
                <a:gd name="T93" fmla="*/ 642 h 691"/>
                <a:gd name="T94" fmla="*/ 454 w 699"/>
                <a:gd name="T95" fmla="*/ 637 h 691"/>
                <a:gd name="T96" fmla="*/ 508 w 699"/>
                <a:gd name="T97" fmla="*/ 657 h 691"/>
                <a:gd name="T98" fmla="*/ 528 w 699"/>
                <a:gd name="T99" fmla="*/ 636 h 691"/>
                <a:gd name="T100" fmla="*/ 539 w 699"/>
                <a:gd name="T101" fmla="*/ 592 h 691"/>
                <a:gd name="T102" fmla="*/ 606 w 699"/>
                <a:gd name="T103" fmla="*/ 584 h 691"/>
                <a:gd name="T104" fmla="*/ 602 w 699"/>
                <a:gd name="T105" fmla="*/ 528 h 691"/>
                <a:gd name="T106" fmla="*/ 643 w 699"/>
                <a:gd name="T107" fmla="*/ 522 h 691"/>
                <a:gd name="T108" fmla="*/ 667 w 699"/>
                <a:gd name="T109" fmla="*/ 478 h 691"/>
                <a:gd name="T110" fmla="*/ 648 w 699"/>
                <a:gd name="T111" fmla="*/ 441 h 691"/>
                <a:gd name="T112" fmla="*/ 696 w 699"/>
                <a:gd name="T113" fmla="*/ 410 h 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99" h="691">
                  <a:moveTo>
                    <a:pt x="692" y="374"/>
                  </a:moveTo>
                  <a:cubicBezTo>
                    <a:pt x="662" y="354"/>
                    <a:pt x="662" y="354"/>
                    <a:pt x="662" y="354"/>
                  </a:cubicBezTo>
                  <a:cubicBezTo>
                    <a:pt x="662" y="347"/>
                    <a:pt x="662" y="347"/>
                    <a:pt x="662" y="347"/>
                  </a:cubicBezTo>
                  <a:cubicBezTo>
                    <a:pt x="662" y="346"/>
                    <a:pt x="662" y="346"/>
                    <a:pt x="662" y="345"/>
                  </a:cubicBezTo>
                  <a:cubicBezTo>
                    <a:pt x="662" y="339"/>
                    <a:pt x="662" y="339"/>
                    <a:pt x="662" y="339"/>
                  </a:cubicBezTo>
                  <a:cubicBezTo>
                    <a:pt x="691" y="320"/>
                    <a:pt x="691" y="320"/>
                    <a:pt x="691" y="320"/>
                  </a:cubicBezTo>
                  <a:cubicBezTo>
                    <a:pt x="696" y="316"/>
                    <a:pt x="699" y="310"/>
                    <a:pt x="698" y="304"/>
                  </a:cubicBezTo>
                  <a:cubicBezTo>
                    <a:pt x="696" y="282"/>
                    <a:pt x="696" y="282"/>
                    <a:pt x="696" y="282"/>
                  </a:cubicBezTo>
                  <a:cubicBezTo>
                    <a:pt x="695" y="276"/>
                    <a:pt x="691" y="271"/>
                    <a:pt x="684" y="269"/>
                  </a:cubicBezTo>
                  <a:cubicBezTo>
                    <a:pt x="650" y="259"/>
                    <a:pt x="650" y="259"/>
                    <a:pt x="650" y="259"/>
                  </a:cubicBezTo>
                  <a:cubicBezTo>
                    <a:pt x="650" y="259"/>
                    <a:pt x="650" y="259"/>
                    <a:pt x="650" y="258"/>
                  </a:cubicBezTo>
                  <a:cubicBezTo>
                    <a:pt x="645" y="243"/>
                    <a:pt x="645" y="243"/>
                    <a:pt x="645" y="243"/>
                  </a:cubicBezTo>
                  <a:cubicBezTo>
                    <a:pt x="667" y="215"/>
                    <a:pt x="667" y="215"/>
                    <a:pt x="667" y="215"/>
                  </a:cubicBezTo>
                  <a:cubicBezTo>
                    <a:pt x="671" y="211"/>
                    <a:pt x="671" y="204"/>
                    <a:pt x="668" y="198"/>
                  </a:cubicBezTo>
                  <a:cubicBezTo>
                    <a:pt x="663" y="188"/>
                    <a:pt x="663" y="188"/>
                    <a:pt x="663" y="188"/>
                  </a:cubicBezTo>
                  <a:cubicBezTo>
                    <a:pt x="663" y="187"/>
                    <a:pt x="663" y="187"/>
                    <a:pt x="662" y="186"/>
                  </a:cubicBezTo>
                  <a:cubicBezTo>
                    <a:pt x="657" y="179"/>
                    <a:pt x="657" y="179"/>
                    <a:pt x="657" y="179"/>
                  </a:cubicBezTo>
                  <a:cubicBezTo>
                    <a:pt x="654" y="174"/>
                    <a:pt x="649" y="171"/>
                    <a:pt x="644" y="171"/>
                  </a:cubicBezTo>
                  <a:cubicBezTo>
                    <a:pt x="607" y="171"/>
                    <a:pt x="607" y="171"/>
                    <a:pt x="607" y="171"/>
                  </a:cubicBezTo>
                  <a:cubicBezTo>
                    <a:pt x="603" y="165"/>
                    <a:pt x="603" y="165"/>
                    <a:pt x="603" y="165"/>
                  </a:cubicBezTo>
                  <a:cubicBezTo>
                    <a:pt x="603" y="165"/>
                    <a:pt x="602" y="165"/>
                    <a:pt x="602" y="165"/>
                  </a:cubicBezTo>
                  <a:cubicBezTo>
                    <a:pt x="599" y="160"/>
                    <a:pt x="599" y="160"/>
                    <a:pt x="599" y="160"/>
                  </a:cubicBezTo>
                  <a:cubicBezTo>
                    <a:pt x="610" y="126"/>
                    <a:pt x="610" y="126"/>
                    <a:pt x="610" y="126"/>
                  </a:cubicBezTo>
                  <a:cubicBezTo>
                    <a:pt x="612" y="120"/>
                    <a:pt x="610" y="113"/>
                    <a:pt x="606" y="109"/>
                  </a:cubicBezTo>
                  <a:cubicBezTo>
                    <a:pt x="591" y="94"/>
                    <a:pt x="591" y="94"/>
                    <a:pt x="591" y="94"/>
                  </a:cubicBezTo>
                  <a:cubicBezTo>
                    <a:pt x="586" y="89"/>
                    <a:pt x="580" y="88"/>
                    <a:pt x="574" y="90"/>
                  </a:cubicBezTo>
                  <a:cubicBezTo>
                    <a:pt x="540" y="101"/>
                    <a:pt x="540" y="101"/>
                    <a:pt x="540" y="101"/>
                  </a:cubicBezTo>
                  <a:cubicBezTo>
                    <a:pt x="540" y="101"/>
                    <a:pt x="539" y="101"/>
                    <a:pt x="539" y="100"/>
                  </a:cubicBezTo>
                  <a:cubicBezTo>
                    <a:pt x="533" y="97"/>
                    <a:pt x="533" y="97"/>
                    <a:pt x="533" y="97"/>
                  </a:cubicBezTo>
                  <a:cubicBezTo>
                    <a:pt x="528" y="93"/>
                    <a:pt x="528" y="93"/>
                    <a:pt x="528" y="93"/>
                  </a:cubicBezTo>
                  <a:cubicBezTo>
                    <a:pt x="528" y="56"/>
                    <a:pt x="528" y="56"/>
                    <a:pt x="528" y="56"/>
                  </a:cubicBezTo>
                  <a:cubicBezTo>
                    <a:pt x="528" y="50"/>
                    <a:pt x="525" y="44"/>
                    <a:pt x="519" y="42"/>
                  </a:cubicBezTo>
                  <a:cubicBezTo>
                    <a:pt x="509" y="37"/>
                    <a:pt x="509" y="37"/>
                    <a:pt x="509" y="37"/>
                  </a:cubicBezTo>
                  <a:cubicBezTo>
                    <a:pt x="509" y="36"/>
                    <a:pt x="509" y="36"/>
                    <a:pt x="508" y="36"/>
                  </a:cubicBezTo>
                  <a:cubicBezTo>
                    <a:pt x="499" y="32"/>
                    <a:pt x="499" y="32"/>
                    <a:pt x="499" y="32"/>
                  </a:cubicBezTo>
                  <a:cubicBezTo>
                    <a:pt x="494" y="30"/>
                    <a:pt x="488" y="31"/>
                    <a:pt x="484" y="34"/>
                  </a:cubicBezTo>
                  <a:cubicBezTo>
                    <a:pt x="454" y="55"/>
                    <a:pt x="454" y="55"/>
                    <a:pt x="454" y="55"/>
                  </a:cubicBezTo>
                  <a:cubicBezTo>
                    <a:pt x="449" y="53"/>
                    <a:pt x="449" y="53"/>
                    <a:pt x="449" y="53"/>
                  </a:cubicBezTo>
                  <a:cubicBezTo>
                    <a:pt x="448" y="52"/>
                    <a:pt x="447" y="52"/>
                    <a:pt x="447" y="52"/>
                  </a:cubicBezTo>
                  <a:cubicBezTo>
                    <a:pt x="440" y="50"/>
                    <a:pt x="440" y="50"/>
                    <a:pt x="440" y="50"/>
                  </a:cubicBezTo>
                  <a:cubicBezTo>
                    <a:pt x="428" y="16"/>
                    <a:pt x="428" y="16"/>
                    <a:pt x="428" y="16"/>
                  </a:cubicBezTo>
                  <a:cubicBezTo>
                    <a:pt x="427" y="11"/>
                    <a:pt x="422" y="7"/>
                    <a:pt x="417" y="6"/>
                  </a:cubicBezTo>
                  <a:cubicBezTo>
                    <a:pt x="407" y="3"/>
                    <a:pt x="407" y="3"/>
                    <a:pt x="407" y="3"/>
                  </a:cubicBezTo>
                  <a:cubicBezTo>
                    <a:pt x="406" y="3"/>
                    <a:pt x="405" y="3"/>
                    <a:pt x="405" y="3"/>
                  </a:cubicBezTo>
                  <a:cubicBezTo>
                    <a:pt x="394" y="1"/>
                    <a:pt x="394" y="1"/>
                    <a:pt x="394" y="1"/>
                  </a:cubicBezTo>
                  <a:cubicBezTo>
                    <a:pt x="388" y="1"/>
                    <a:pt x="383" y="3"/>
                    <a:pt x="379" y="8"/>
                  </a:cubicBezTo>
                  <a:cubicBezTo>
                    <a:pt x="359" y="38"/>
                    <a:pt x="359" y="38"/>
                    <a:pt x="359" y="38"/>
                  </a:cubicBezTo>
                  <a:cubicBezTo>
                    <a:pt x="352" y="37"/>
                    <a:pt x="352" y="37"/>
                    <a:pt x="352" y="37"/>
                  </a:cubicBezTo>
                  <a:cubicBezTo>
                    <a:pt x="352" y="37"/>
                    <a:pt x="351" y="37"/>
                    <a:pt x="350" y="37"/>
                  </a:cubicBezTo>
                  <a:cubicBezTo>
                    <a:pt x="342" y="38"/>
                    <a:pt x="342" y="38"/>
                    <a:pt x="342" y="38"/>
                  </a:cubicBezTo>
                  <a:cubicBezTo>
                    <a:pt x="322" y="8"/>
                    <a:pt x="322" y="8"/>
                    <a:pt x="322" y="8"/>
                  </a:cubicBezTo>
                  <a:cubicBezTo>
                    <a:pt x="318" y="3"/>
                    <a:pt x="312" y="0"/>
                    <a:pt x="306" y="2"/>
                  </a:cubicBezTo>
                  <a:cubicBezTo>
                    <a:pt x="285" y="5"/>
                    <a:pt x="285" y="5"/>
                    <a:pt x="285" y="5"/>
                  </a:cubicBezTo>
                  <a:cubicBezTo>
                    <a:pt x="279" y="7"/>
                    <a:pt x="275" y="11"/>
                    <a:pt x="273" y="16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1" y="50"/>
                    <a:pt x="261" y="50"/>
                    <a:pt x="261" y="50"/>
                  </a:cubicBezTo>
                  <a:cubicBezTo>
                    <a:pt x="253" y="52"/>
                    <a:pt x="253" y="52"/>
                    <a:pt x="253" y="52"/>
                  </a:cubicBezTo>
                  <a:cubicBezTo>
                    <a:pt x="253" y="52"/>
                    <a:pt x="253" y="53"/>
                    <a:pt x="253" y="53"/>
                  </a:cubicBezTo>
                  <a:cubicBezTo>
                    <a:pt x="247" y="55"/>
                    <a:pt x="247" y="55"/>
                    <a:pt x="247" y="55"/>
                  </a:cubicBezTo>
                  <a:cubicBezTo>
                    <a:pt x="217" y="34"/>
                    <a:pt x="217" y="34"/>
                    <a:pt x="217" y="34"/>
                  </a:cubicBezTo>
                  <a:cubicBezTo>
                    <a:pt x="213" y="31"/>
                    <a:pt x="207" y="30"/>
                    <a:pt x="202" y="32"/>
                  </a:cubicBezTo>
                  <a:cubicBezTo>
                    <a:pt x="193" y="36"/>
                    <a:pt x="193" y="36"/>
                    <a:pt x="193" y="36"/>
                  </a:cubicBezTo>
                  <a:cubicBezTo>
                    <a:pt x="192" y="36"/>
                    <a:pt x="192" y="36"/>
                    <a:pt x="192" y="37"/>
                  </a:cubicBezTo>
                  <a:cubicBezTo>
                    <a:pt x="181" y="42"/>
                    <a:pt x="181" y="42"/>
                    <a:pt x="181" y="42"/>
                  </a:cubicBezTo>
                  <a:cubicBezTo>
                    <a:pt x="176" y="45"/>
                    <a:pt x="172" y="50"/>
                    <a:pt x="173" y="57"/>
                  </a:cubicBezTo>
                  <a:cubicBezTo>
                    <a:pt x="174" y="93"/>
                    <a:pt x="174" y="93"/>
                    <a:pt x="174" y="93"/>
                  </a:cubicBezTo>
                  <a:cubicBezTo>
                    <a:pt x="162" y="101"/>
                    <a:pt x="162" y="101"/>
                    <a:pt x="162" y="101"/>
                  </a:cubicBezTo>
                  <a:cubicBezTo>
                    <a:pt x="127" y="90"/>
                    <a:pt x="127" y="90"/>
                    <a:pt x="127" y="90"/>
                  </a:cubicBezTo>
                  <a:cubicBezTo>
                    <a:pt x="121" y="88"/>
                    <a:pt x="115" y="89"/>
                    <a:pt x="110" y="94"/>
                  </a:cubicBezTo>
                  <a:cubicBezTo>
                    <a:pt x="95" y="109"/>
                    <a:pt x="95" y="109"/>
                    <a:pt x="95" y="109"/>
                  </a:cubicBezTo>
                  <a:cubicBezTo>
                    <a:pt x="90" y="113"/>
                    <a:pt x="89" y="120"/>
                    <a:pt x="91" y="126"/>
                  </a:cubicBezTo>
                  <a:cubicBezTo>
                    <a:pt x="102" y="159"/>
                    <a:pt x="102" y="159"/>
                    <a:pt x="102" y="159"/>
                  </a:cubicBezTo>
                  <a:cubicBezTo>
                    <a:pt x="102" y="159"/>
                    <a:pt x="102" y="160"/>
                    <a:pt x="101" y="160"/>
                  </a:cubicBezTo>
                  <a:cubicBezTo>
                    <a:pt x="98" y="166"/>
                    <a:pt x="98" y="166"/>
                    <a:pt x="98" y="166"/>
                  </a:cubicBezTo>
                  <a:cubicBezTo>
                    <a:pt x="94" y="171"/>
                    <a:pt x="94" y="171"/>
                    <a:pt x="94" y="171"/>
                  </a:cubicBezTo>
                  <a:cubicBezTo>
                    <a:pt x="57" y="171"/>
                    <a:pt x="57" y="171"/>
                    <a:pt x="57" y="171"/>
                  </a:cubicBezTo>
                  <a:cubicBezTo>
                    <a:pt x="52" y="171"/>
                    <a:pt x="47" y="174"/>
                    <a:pt x="44" y="179"/>
                  </a:cubicBezTo>
                  <a:cubicBezTo>
                    <a:pt x="39" y="186"/>
                    <a:pt x="39" y="186"/>
                    <a:pt x="39" y="186"/>
                  </a:cubicBezTo>
                  <a:cubicBezTo>
                    <a:pt x="38" y="187"/>
                    <a:pt x="38" y="187"/>
                    <a:pt x="38" y="188"/>
                  </a:cubicBezTo>
                  <a:cubicBezTo>
                    <a:pt x="32" y="198"/>
                    <a:pt x="32" y="198"/>
                    <a:pt x="32" y="198"/>
                  </a:cubicBezTo>
                  <a:cubicBezTo>
                    <a:pt x="30" y="204"/>
                    <a:pt x="30" y="211"/>
                    <a:pt x="34" y="215"/>
                  </a:cubicBezTo>
                  <a:cubicBezTo>
                    <a:pt x="56" y="243"/>
                    <a:pt x="56" y="243"/>
                    <a:pt x="56" y="243"/>
                  </a:cubicBezTo>
                  <a:cubicBezTo>
                    <a:pt x="53" y="251"/>
                    <a:pt x="53" y="251"/>
                    <a:pt x="53" y="251"/>
                  </a:cubicBezTo>
                  <a:cubicBezTo>
                    <a:pt x="53" y="251"/>
                    <a:pt x="53" y="252"/>
                    <a:pt x="53" y="252"/>
                  </a:cubicBezTo>
                  <a:cubicBezTo>
                    <a:pt x="52" y="258"/>
                    <a:pt x="52" y="258"/>
                    <a:pt x="52" y="258"/>
                  </a:cubicBezTo>
                  <a:cubicBezTo>
                    <a:pt x="17" y="269"/>
                    <a:pt x="17" y="269"/>
                    <a:pt x="17" y="269"/>
                  </a:cubicBezTo>
                  <a:cubicBezTo>
                    <a:pt x="11" y="270"/>
                    <a:pt x="7" y="275"/>
                    <a:pt x="5" y="280"/>
                  </a:cubicBezTo>
                  <a:cubicBezTo>
                    <a:pt x="3" y="291"/>
                    <a:pt x="3" y="291"/>
                    <a:pt x="3" y="291"/>
                  </a:cubicBezTo>
                  <a:cubicBezTo>
                    <a:pt x="3" y="291"/>
                    <a:pt x="3" y="292"/>
                    <a:pt x="2" y="293"/>
                  </a:cubicBezTo>
                  <a:cubicBezTo>
                    <a:pt x="1" y="304"/>
                    <a:pt x="1" y="304"/>
                    <a:pt x="1" y="304"/>
                  </a:cubicBezTo>
                  <a:cubicBezTo>
                    <a:pt x="1" y="310"/>
                    <a:pt x="3" y="316"/>
                    <a:pt x="9" y="320"/>
                  </a:cubicBezTo>
                  <a:cubicBezTo>
                    <a:pt x="39" y="339"/>
                    <a:pt x="39" y="339"/>
                    <a:pt x="39" y="339"/>
                  </a:cubicBezTo>
                  <a:cubicBezTo>
                    <a:pt x="39" y="345"/>
                    <a:pt x="39" y="345"/>
                    <a:pt x="39" y="345"/>
                  </a:cubicBezTo>
                  <a:cubicBezTo>
                    <a:pt x="38" y="346"/>
                    <a:pt x="38" y="346"/>
                    <a:pt x="39" y="347"/>
                  </a:cubicBezTo>
                  <a:cubicBezTo>
                    <a:pt x="39" y="353"/>
                    <a:pt x="39" y="353"/>
                    <a:pt x="39" y="353"/>
                  </a:cubicBezTo>
                  <a:cubicBezTo>
                    <a:pt x="8" y="374"/>
                    <a:pt x="8" y="374"/>
                    <a:pt x="8" y="374"/>
                  </a:cubicBezTo>
                  <a:cubicBezTo>
                    <a:pt x="3" y="377"/>
                    <a:pt x="0" y="384"/>
                    <a:pt x="1" y="390"/>
                  </a:cubicBezTo>
                  <a:cubicBezTo>
                    <a:pt x="5" y="411"/>
                    <a:pt x="5" y="411"/>
                    <a:pt x="5" y="411"/>
                  </a:cubicBezTo>
                  <a:cubicBezTo>
                    <a:pt x="6" y="417"/>
                    <a:pt x="10" y="421"/>
                    <a:pt x="16" y="423"/>
                  </a:cubicBezTo>
                  <a:cubicBezTo>
                    <a:pt x="52" y="435"/>
                    <a:pt x="52" y="435"/>
                    <a:pt x="52" y="435"/>
                  </a:cubicBezTo>
                  <a:cubicBezTo>
                    <a:pt x="53" y="440"/>
                    <a:pt x="53" y="440"/>
                    <a:pt x="53" y="440"/>
                  </a:cubicBezTo>
                  <a:cubicBezTo>
                    <a:pt x="53" y="441"/>
                    <a:pt x="53" y="442"/>
                    <a:pt x="54" y="443"/>
                  </a:cubicBezTo>
                  <a:cubicBezTo>
                    <a:pt x="56" y="449"/>
                    <a:pt x="56" y="449"/>
                    <a:pt x="56" y="449"/>
                  </a:cubicBezTo>
                  <a:cubicBezTo>
                    <a:pt x="34" y="478"/>
                    <a:pt x="34" y="478"/>
                    <a:pt x="34" y="478"/>
                  </a:cubicBezTo>
                  <a:cubicBezTo>
                    <a:pt x="30" y="483"/>
                    <a:pt x="30" y="490"/>
                    <a:pt x="33" y="496"/>
                  </a:cubicBezTo>
                  <a:cubicBezTo>
                    <a:pt x="43" y="514"/>
                    <a:pt x="43" y="514"/>
                    <a:pt x="43" y="514"/>
                  </a:cubicBezTo>
                  <a:cubicBezTo>
                    <a:pt x="46" y="519"/>
                    <a:pt x="52" y="522"/>
                    <a:pt x="58" y="522"/>
                  </a:cubicBezTo>
                  <a:cubicBezTo>
                    <a:pt x="94" y="521"/>
                    <a:pt x="94" y="521"/>
                    <a:pt x="94" y="521"/>
                  </a:cubicBezTo>
                  <a:cubicBezTo>
                    <a:pt x="98" y="527"/>
                    <a:pt x="98" y="527"/>
                    <a:pt x="98" y="527"/>
                  </a:cubicBezTo>
                  <a:cubicBezTo>
                    <a:pt x="98" y="528"/>
                    <a:pt x="98" y="528"/>
                    <a:pt x="99" y="529"/>
                  </a:cubicBezTo>
                  <a:cubicBezTo>
                    <a:pt x="102" y="533"/>
                    <a:pt x="102" y="533"/>
                    <a:pt x="102" y="533"/>
                  </a:cubicBezTo>
                  <a:cubicBezTo>
                    <a:pt x="91" y="568"/>
                    <a:pt x="91" y="568"/>
                    <a:pt x="91" y="568"/>
                  </a:cubicBezTo>
                  <a:cubicBezTo>
                    <a:pt x="89" y="573"/>
                    <a:pt x="90" y="580"/>
                    <a:pt x="95" y="584"/>
                  </a:cubicBezTo>
                  <a:cubicBezTo>
                    <a:pt x="110" y="600"/>
                    <a:pt x="110" y="600"/>
                    <a:pt x="110" y="600"/>
                  </a:cubicBezTo>
                  <a:cubicBezTo>
                    <a:pt x="115" y="604"/>
                    <a:pt x="121" y="605"/>
                    <a:pt x="127" y="603"/>
                  </a:cubicBezTo>
                  <a:cubicBezTo>
                    <a:pt x="162" y="592"/>
                    <a:pt x="162" y="592"/>
                    <a:pt x="162" y="592"/>
                  </a:cubicBezTo>
                  <a:cubicBezTo>
                    <a:pt x="167" y="596"/>
                    <a:pt x="167" y="596"/>
                    <a:pt x="167" y="596"/>
                  </a:cubicBezTo>
                  <a:cubicBezTo>
                    <a:pt x="167" y="596"/>
                    <a:pt x="168" y="596"/>
                    <a:pt x="168" y="596"/>
                  </a:cubicBezTo>
                  <a:cubicBezTo>
                    <a:pt x="174" y="600"/>
                    <a:pt x="174" y="600"/>
                    <a:pt x="174" y="600"/>
                  </a:cubicBezTo>
                  <a:cubicBezTo>
                    <a:pt x="173" y="635"/>
                    <a:pt x="173" y="635"/>
                    <a:pt x="173" y="635"/>
                  </a:cubicBezTo>
                  <a:cubicBezTo>
                    <a:pt x="172" y="641"/>
                    <a:pt x="175" y="647"/>
                    <a:pt x="180" y="650"/>
                  </a:cubicBezTo>
                  <a:cubicBezTo>
                    <a:pt x="190" y="656"/>
                    <a:pt x="190" y="656"/>
                    <a:pt x="190" y="656"/>
                  </a:cubicBezTo>
                  <a:cubicBezTo>
                    <a:pt x="191" y="656"/>
                    <a:pt x="192" y="657"/>
                    <a:pt x="193" y="657"/>
                  </a:cubicBezTo>
                  <a:cubicBezTo>
                    <a:pt x="202" y="661"/>
                    <a:pt x="202" y="661"/>
                    <a:pt x="202" y="661"/>
                  </a:cubicBezTo>
                  <a:cubicBezTo>
                    <a:pt x="207" y="663"/>
                    <a:pt x="213" y="663"/>
                    <a:pt x="218" y="659"/>
                  </a:cubicBezTo>
                  <a:cubicBezTo>
                    <a:pt x="245" y="638"/>
                    <a:pt x="245" y="638"/>
                    <a:pt x="245" y="638"/>
                  </a:cubicBezTo>
                  <a:cubicBezTo>
                    <a:pt x="246" y="639"/>
                    <a:pt x="247" y="639"/>
                    <a:pt x="248" y="639"/>
                  </a:cubicBezTo>
                  <a:cubicBezTo>
                    <a:pt x="254" y="640"/>
                    <a:pt x="254" y="640"/>
                    <a:pt x="254" y="640"/>
                  </a:cubicBezTo>
                  <a:cubicBezTo>
                    <a:pt x="261" y="642"/>
                    <a:pt x="261" y="642"/>
                    <a:pt x="261" y="642"/>
                  </a:cubicBezTo>
                  <a:cubicBezTo>
                    <a:pt x="273" y="677"/>
                    <a:pt x="273" y="677"/>
                    <a:pt x="273" y="677"/>
                  </a:cubicBezTo>
                  <a:cubicBezTo>
                    <a:pt x="275" y="683"/>
                    <a:pt x="280" y="687"/>
                    <a:pt x="286" y="688"/>
                  </a:cubicBezTo>
                  <a:cubicBezTo>
                    <a:pt x="307" y="691"/>
                    <a:pt x="307" y="691"/>
                    <a:pt x="307" y="691"/>
                  </a:cubicBezTo>
                  <a:cubicBezTo>
                    <a:pt x="312" y="691"/>
                    <a:pt x="318" y="689"/>
                    <a:pt x="322" y="684"/>
                  </a:cubicBezTo>
                  <a:cubicBezTo>
                    <a:pt x="343" y="655"/>
                    <a:pt x="343" y="655"/>
                    <a:pt x="343" y="655"/>
                  </a:cubicBezTo>
                  <a:cubicBezTo>
                    <a:pt x="358" y="655"/>
                    <a:pt x="358" y="655"/>
                    <a:pt x="358" y="655"/>
                  </a:cubicBezTo>
                  <a:cubicBezTo>
                    <a:pt x="379" y="684"/>
                    <a:pt x="379" y="684"/>
                    <a:pt x="379" y="684"/>
                  </a:cubicBezTo>
                  <a:cubicBezTo>
                    <a:pt x="382" y="688"/>
                    <a:pt x="387" y="691"/>
                    <a:pt x="392" y="691"/>
                  </a:cubicBezTo>
                  <a:cubicBezTo>
                    <a:pt x="393" y="691"/>
                    <a:pt x="394" y="691"/>
                    <a:pt x="394" y="691"/>
                  </a:cubicBezTo>
                  <a:cubicBezTo>
                    <a:pt x="415" y="688"/>
                    <a:pt x="415" y="688"/>
                    <a:pt x="415" y="688"/>
                  </a:cubicBezTo>
                  <a:cubicBezTo>
                    <a:pt x="421" y="687"/>
                    <a:pt x="426" y="683"/>
                    <a:pt x="428" y="677"/>
                  </a:cubicBezTo>
                  <a:cubicBezTo>
                    <a:pt x="440" y="642"/>
                    <a:pt x="440" y="642"/>
                    <a:pt x="440" y="642"/>
                  </a:cubicBezTo>
                  <a:cubicBezTo>
                    <a:pt x="448" y="640"/>
                    <a:pt x="448" y="640"/>
                    <a:pt x="448" y="640"/>
                  </a:cubicBezTo>
                  <a:cubicBezTo>
                    <a:pt x="448" y="640"/>
                    <a:pt x="448" y="639"/>
                    <a:pt x="448" y="639"/>
                  </a:cubicBezTo>
                  <a:cubicBezTo>
                    <a:pt x="454" y="637"/>
                    <a:pt x="454" y="637"/>
                    <a:pt x="454" y="637"/>
                  </a:cubicBezTo>
                  <a:cubicBezTo>
                    <a:pt x="483" y="659"/>
                    <a:pt x="483" y="659"/>
                    <a:pt x="483" y="659"/>
                  </a:cubicBezTo>
                  <a:cubicBezTo>
                    <a:pt x="488" y="663"/>
                    <a:pt x="494" y="663"/>
                    <a:pt x="499" y="661"/>
                  </a:cubicBezTo>
                  <a:cubicBezTo>
                    <a:pt x="508" y="657"/>
                    <a:pt x="508" y="657"/>
                    <a:pt x="508" y="657"/>
                  </a:cubicBezTo>
                  <a:cubicBezTo>
                    <a:pt x="509" y="657"/>
                    <a:pt x="510" y="656"/>
                    <a:pt x="510" y="656"/>
                  </a:cubicBezTo>
                  <a:cubicBezTo>
                    <a:pt x="521" y="650"/>
                    <a:pt x="521" y="650"/>
                    <a:pt x="521" y="650"/>
                  </a:cubicBezTo>
                  <a:cubicBezTo>
                    <a:pt x="525" y="647"/>
                    <a:pt x="528" y="641"/>
                    <a:pt x="528" y="636"/>
                  </a:cubicBezTo>
                  <a:cubicBezTo>
                    <a:pt x="528" y="600"/>
                    <a:pt x="528" y="600"/>
                    <a:pt x="528" y="600"/>
                  </a:cubicBezTo>
                  <a:cubicBezTo>
                    <a:pt x="533" y="596"/>
                    <a:pt x="533" y="596"/>
                    <a:pt x="533" y="596"/>
                  </a:cubicBezTo>
                  <a:cubicBezTo>
                    <a:pt x="539" y="592"/>
                    <a:pt x="539" y="592"/>
                    <a:pt x="539" y="592"/>
                  </a:cubicBezTo>
                  <a:cubicBezTo>
                    <a:pt x="574" y="603"/>
                    <a:pt x="574" y="603"/>
                    <a:pt x="574" y="603"/>
                  </a:cubicBezTo>
                  <a:cubicBezTo>
                    <a:pt x="580" y="605"/>
                    <a:pt x="586" y="604"/>
                    <a:pt x="591" y="600"/>
                  </a:cubicBezTo>
                  <a:cubicBezTo>
                    <a:pt x="606" y="584"/>
                    <a:pt x="606" y="584"/>
                    <a:pt x="606" y="584"/>
                  </a:cubicBezTo>
                  <a:cubicBezTo>
                    <a:pt x="610" y="580"/>
                    <a:pt x="612" y="573"/>
                    <a:pt x="610" y="568"/>
                  </a:cubicBezTo>
                  <a:cubicBezTo>
                    <a:pt x="599" y="533"/>
                    <a:pt x="599" y="533"/>
                    <a:pt x="599" y="533"/>
                  </a:cubicBezTo>
                  <a:cubicBezTo>
                    <a:pt x="602" y="528"/>
                    <a:pt x="602" y="528"/>
                    <a:pt x="602" y="528"/>
                  </a:cubicBezTo>
                  <a:cubicBezTo>
                    <a:pt x="603" y="528"/>
                    <a:pt x="603" y="528"/>
                    <a:pt x="603" y="527"/>
                  </a:cubicBezTo>
                  <a:cubicBezTo>
                    <a:pt x="607" y="521"/>
                    <a:pt x="607" y="521"/>
                    <a:pt x="607" y="521"/>
                  </a:cubicBezTo>
                  <a:cubicBezTo>
                    <a:pt x="643" y="522"/>
                    <a:pt x="643" y="522"/>
                    <a:pt x="643" y="522"/>
                  </a:cubicBezTo>
                  <a:cubicBezTo>
                    <a:pt x="649" y="522"/>
                    <a:pt x="655" y="519"/>
                    <a:pt x="658" y="514"/>
                  </a:cubicBezTo>
                  <a:cubicBezTo>
                    <a:pt x="668" y="496"/>
                    <a:pt x="668" y="496"/>
                    <a:pt x="668" y="496"/>
                  </a:cubicBezTo>
                  <a:cubicBezTo>
                    <a:pt x="671" y="490"/>
                    <a:pt x="671" y="483"/>
                    <a:pt x="667" y="478"/>
                  </a:cubicBezTo>
                  <a:cubicBezTo>
                    <a:pt x="645" y="449"/>
                    <a:pt x="645" y="449"/>
                    <a:pt x="645" y="449"/>
                  </a:cubicBezTo>
                  <a:cubicBezTo>
                    <a:pt x="647" y="443"/>
                    <a:pt x="647" y="443"/>
                    <a:pt x="647" y="443"/>
                  </a:cubicBezTo>
                  <a:cubicBezTo>
                    <a:pt x="647" y="443"/>
                    <a:pt x="648" y="442"/>
                    <a:pt x="648" y="441"/>
                  </a:cubicBezTo>
                  <a:cubicBezTo>
                    <a:pt x="649" y="435"/>
                    <a:pt x="649" y="435"/>
                    <a:pt x="649" y="435"/>
                  </a:cubicBezTo>
                  <a:cubicBezTo>
                    <a:pt x="685" y="423"/>
                    <a:pt x="685" y="423"/>
                    <a:pt x="685" y="423"/>
                  </a:cubicBezTo>
                  <a:cubicBezTo>
                    <a:pt x="691" y="421"/>
                    <a:pt x="695" y="416"/>
                    <a:pt x="696" y="410"/>
                  </a:cubicBezTo>
                  <a:cubicBezTo>
                    <a:pt x="698" y="389"/>
                    <a:pt x="698" y="389"/>
                    <a:pt x="698" y="389"/>
                  </a:cubicBezTo>
                  <a:cubicBezTo>
                    <a:pt x="699" y="383"/>
                    <a:pt x="697" y="377"/>
                    <a:pt x="692" y="37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CH" sz="1600" dirty="0"/>
            </a:p>
          </p:txBody>
        </p:sp>
        <p:sp>
          <p:nvSpPr>
            <p:cNvPr id="11" name="Oval 15">
              <a:extLst>
                <a:ext uri="{FF2B5EF4-FFF2-40B4-BE49-F238E27FC236}">
                  <a16:creationId xmlns:a16="http://schemas.microsoft.com/office/drawing/2014/main" id="{73A66EB9-8321-46B4-AFC3-2A1E2C74E905}"/>
                </a:ext>
              </a:extLst>
            </p:cNvPr>
            <p:cNvSpPr/>
            <p:nvPr/>
          </p:nvSpPr>
          <p:spPr>
            <a:xfrm>
              <a:off x="11696315" y="6362315"/>
              <a:ext cx="359032" cy="35903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</p:grpSp>
    </p:spTree>
    <p:extLst>
      <p:ext uri="{BB962C8B-B14F-4D97-AF65-F5344CB8AC3E}">
        <p14:creationId xmlns:p14="http://schemas.microsoft.com/office/powerpoint/2010/main" val="42483627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5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ly Title with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" name="Freeform 6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Title of Presentation | DD.MM.YYYY</a:t>
            </a:r>
            <a:endParaRPr lang="en-US" noProof="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 bwMode="gray">
          <a:xfrm>
            <a:off x="623888" y="730800"/>
            <a:ext cx="10944225" cy="32595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slide title here (max. 2 lines | max. 1 line with Action Title)</a:t>
            </a:r>
          </a:p>
        </p:txBody>
      </p:sp>
      <p:grpSp>
        <p:nvGrpSpPr>
          <p:cNvPr id="10" name="Group 12">
            <a:extLst>
              <a:ext uri="{FF2B5EF4-FFF2-40B4-BE49-F238E27FC236}">
                <a16:creationId xmlns:a16="http://schemas.microsoft.com/office/drawing/2014/main" id="{A8432108-6D58-45AF-A103-D6D680BA2761}"/>
              </a:ext>
            </a:extLst>
          </p:cNvPr>
          <p:cNvGrpSpPr/>
          <p:nvPr userDrawn="1"/>
        </p:nvGrpSpPr>
        <p:grpSpPr>
          <a:xfrm>
            <a:off x="11588238" y="6254238"/>
            <a:ext cx="575187" cy="575187"/>
            <a:chOff x="11588238" y="6254238"/>
            <a:chExt cx="575187" cy="575187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60BE6369-F82E-4F02-ADD1-11C71F138F4F}"/>
                </a:ext>
              </a:extLst>
            </p:cNvPr>
            <p:cNvSpPr>
              <a:spLocks/>
            </p:cNvSpPr>
            <p:nvPr>
              <p:custDataLst>
                <p:tags r:id="rId1"/>
              </p:custDataLst>
            </p:nvPr>
          </p:nvSpPr>
          <p:spPr bwMode="gray">
            <a:xfrm>
              <a:off x="11588238" y="6254238"/>
              <a:ext cx="575187" cy="575187"/>
            </a:xfrm>
            <a:custGeom>
              <a:avLst/>
              <a:gdLst>
                <a:gd name="T0" fmla="*/ 662 w 699"/>
                <a:gd name="T1" fmla="*/ 347 h 691"/>
                <a:gd name="T2" fmla="*/ 691 w 699"/>
                <a:gd name="T3" fmla="*/ 320 h 691"/>
                <a:gd name="T4" fmla="*/ 684 w 699"/>
                <a:gd name="T5" fmla="*/ 269 h 691"/>
                <a:gd name="T6" fmla="*/ 645 w 699"/>
                <a:gd name="T7" fmla="*/ 243 h 691"/>
                <a:gd name="T8" fmla="*/ 663 w 699"/>
                <a:gd name="T9" fmla="*/ 188 h 691"/>
                <a:gd name="T10" fmla="*/ 644 w 699"/>
                <a:gd name="T11" fmla="*/ 171 h 691"/>
                <a:gd name="T12" fmla="*/ 602 w 699"/>
                <a:gd name="T13" fmla="*/ 165 h 691"/>
                <a:gd name="T14" fmla="*/ 606 w 699"/>
                <a:gd name="T15" fmla="*/ 109 h 691"/>
                <a:gd name="T16" fmla="*/ 540 w 699"/>
                <a:gd name="T17" fmla="*/ 101 h 691"/>
                <a:gd name="T18" fmla="*/ 528 w 699"/>
                <a:gd name="T19" fmla="*/ 93 h 691"/>
                <a:gd name="T20" fmla="*/ 509 w 699"/>
                <a:gd name="T21" fmla="*/ 37 h 691"/>
                <a:gd name="T22" fmla="*/ 484 w 699"/>
                <a:gd name="T23" fmla="*/ 34 h 691"/>
                <a:gd name="T24" fmla="*/ 447 w 699"/>
                <a:gd name="T25" fmla="*/ 52 h 691"/>
                <a:gd name="T26" fmla="*/ 417 w 699"/>
                <a:gd name="T27" fmla="*/ 6 h 691"/>
                <a:gd name="T28" fmla="*/ 394 w 699"/>
                <a:gd name="T29" fmla="*/ 1 h 691"/>
                <a:gd name="T30" fmla="*/ 352 w 699"/>
                <a:gd name="T31" fmla="*/ 37 h 691"/>
                <a:gd name="T32" fmla="*/ 322 w 699"/>
                <a:gd name="T33" fmla="*/ 8 h 691"/>
                <a:gd name="T34" fmla="*/ 273 w 699"/>
                <a:gd name="T35" fmla="*/ 16 h 691"/>
                <a:gd name="T36" fmla="*/ 253 w 699"/>
                <a:gd name="T37" fmla="*/ 52 h 691"/>
                <a:gd name="T38" fmla="*/ 217 w 699"/>
                <a:gd name="T39" fmla="*/ 34 h 691"/>
                <a:gd name="T40" fmla="*/ 192 w 699"/>
                <a:gd name="T41" fmla="*/ 37 h 691"/>
                <a:gd name="T42" fmla="*/ 174 w 699"/>
                <a:gd name="T43" fmla="*/ 93 h 691"/>
                <a:gd name="T44" fmla="*/ 110 w 699"/>
                <a:gd name="T45" fmla="*/ 94 h 691"/>
                <a:gd name="T46" fmla="*/ 102 w 699"/>
                <a:gd name="T47" fmla="*/ 159 h 691"/>
                <a:gd name="T48" fmla="*/ 94 w 699"/>
                <a:gd name="T49" fmla="*/ 171 h 691"/>
                <a:gd name="T50" fmla="*/ 39 w 699"/>
                <a:gd name="T51" fmla="*/ 186 h 691"/>
                <a:gd name="T52" fmla="*/ 34 w 699"/>
                <a:gd name="T53" fmla="*/ 215 h 691"/>
                <a:gd name="T54" fmla="*/ 53 w 699"/>
                <a:gd name="T55" fmla="*/ 252 h 691"/>
                <a:gd name="T56" fmla="*/ 5 w 699"/>
                <a:gd name="T57" fmla="*/ 280 h 691"/>
                <a:gd name="T58" fmla="*/ 1 w 699"/>
                <a:gd name="T59" fmla="*/ 304 h 691"/>
                <a:gd name="T60" fmla="*/ 39 w 699"/>
                <a:gd name="T61" fmla="*/ 345 h 691"/>
                <a:gd name="T62" fmla="*/ 8 w 699"/>
                <a:gd name="T63" fmla="*/ 374 h 691"/>
                <a:gd name="T64" fmla="*/ 16 w 699"/>
                <a:gd name="T65" fmla="*/ 423 h 691"/>
                <a:gd name="T66" fmla="*/ 54 w 699"/>
                <a:gd name="T67" fmla="*/ 443 h 691"/>
                <a:gd name="T68" fmla="*/ 33 w 699"/>
                <a:gd name="T69" fmla="*/ 496 h 691"/>
                <a:gd name="T70" fmla="*/ 94 w 699"/>
                <a:gd name="T71" fmla="*/ 521 h 691"/>
                <a:gd name="T72" fmla="*/ 102 w 699"/>
                <a:gd name="T73" fmla="*/ 533 h 691"/>
                <a:gd name="T74" fmla="*/ 110 w 699"/>
                <a:gd name="T75" fmla="*/ 600 h 691"/>
                <a:gd name="T76" fmla="*/ 167 w 699"/>
                <a:gd name="T77" fmla="*/ 596 h 691"/>
                <a:gd name="T78" fmla="*/ 173 w 699"/>
                <a:gd name="T79" fmla="*/ 635 h 691"/>
                <a:gd name="T80" fmla="*/ 193 w 699"/>
                <a:gd name="T81" fmla="*/ 657 h 691"/>
                <a:gd name="T82" fmla="*/ 245 w 699"/>
                <a:gd name="T83" fmla="*/ 638 h 691"/>
                <a:gd name="T84" fmla="*/ 261 w 699"/>
                <a:gd name="T85" fmla="*/ 642 h 691"/>
                <a:gd name="T86" fmla="*/ 307 w 699"/>
                <a:gd name="T87" fmla="*/ 691 h 691"/>
                <a:gd name="T88" fmla="*/ 358 w 699"/>
                <a:gd name="T89" fmla="*/ 655 h 691"/>
                <a:gd name="T90" fmla="*/ 394 w 699"/>
                <a:gd name="T91" fmla="*/ 691 h 691"/>
                <a:gd name="T92" fmla="*/ 440 w 699"/>
                <a:gd name="T93" fmla="*/ 642 h 691"/>
                <a:gd name="T94" fmla="*/ 454 w 699"/>
                <a:gd name="T95" fmla="*/ 637 h 691"/>
                <a:gd name="T96" fmla="*/ 508 w 699"/>
                <a:gd name="T97" fmla="*/ 657 h 691"/>
                <a:gd name="T98" fmla="*/ 528 w 699"/>
                <a:gd name="T99" fmla="*/ 636 h 691"/>
                <a:gd name="T100" fmla="*/ 539 w 699"/>
                <a:gd name="T101" fmla="*/ 592 h 691"/>
                <a:gd name="T102" fmla="*/ 606 w 699"/>
                <a:gd name="T103" fmla="*/ 584 h 691"/>
                <a:gd name="T104" fmla="*/ 602 w 699"/>
                <a:gd name="T105" fmla="*/ 528 h 691"/>
                <a:gd name="T106" fmla="*/ 643 w 699"/>
                <a:gd name="T107" fmla="*/ 522 h 691"/>
                <a:gd name="T108" fmla="*/ 667 w 699"/>
                <a:gd name="T109" fmla="*/ 478 h 691"/>
                <a:gd name="T110" fmla="*/ 648 w 699"/>
                <a:gd name="T111" fmla="*/ 441 h 691"/>
                <a:gd name="T112" fmla="*/ 696 w 699"/>
                <a:gd name="T113" fmla="*/ 410 h 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99" h="691">
                  <a:moveTo>
                    <a:pt x="692" y="374"/>
                  </a:moveTo>
                  <a:cubicBezTo>
                    <a:pt x="662" y="354"/>
                    <a:pt x="662" y="354"/>
                    <a:pt x="662" y="354"/>
                  </a:cubicBezTo>
                  <a:cubicBezTo>
                    <a:pt x="662" y="347"/>
                    <a:pt x="662" y="347"/>
                    <a:pt x="662" y="347"/>
                  </a:cubicBezTo>
                  <a:cubicBezTo>
                    <a:pt x="662" y="346"/>
                    <a:pt x="662" y="346"/>
                    <a:pt x="662" y="345"/>
                  </a:cubicBezTo>
                  <a:cubicBezTo>
                    <a:pt x="662" y="339"/>
                    <a:pt x="662" y="339"/>
                    <a:pt x="662" y="339"/>
                  </a:cubicBezTo>
                  <a:cubicBezTo>
                    <a:pt x="691" y="320"/>
                    <a:pt x="691" y="320"/>
                    <a:pt x="691" y="320"/>
                  </a:cubicBezTo>
                  <a:cubicBezTo>
                    <a:pt x="696" y="316"/>
                    <a:pt x="699" y="310"/>
                    <a:pt x="698" y="304"/>
                  </a:cubicBezTo>
                  <a:cubicBezTo>
                    <a:pt x="696" y="282"/>
                    <a:pt x="696" y="282"/>
                    <a:pt x="696" y="282"/>
                  </a:cubicBezTo>
                  <a:cubicBezTo>
                    <a:pt x="695" y="276"/>
                    <a:pt x="691" y="271"/>
                    <a:pt x="684" y="269"/>
                  </a:cubicBezTo>
                  <a:cubicBezTo>
                    <a:pt x="650" y="259"/>
                    <a:pt x="650" y="259"/>
                    <a:pt x="650" y="259"/>
                  </a:cubicBezTo>
                  <a:cubicBezTo>
                    <a:pt x="650" y="259"/>
                    <a:pt x="650" y="259"/>
                    <a:pt x="650" y="258"/>
                  </a:cubicBezTo>
                  <a:cubicBezTo>
                    <a:pt x="645" y="243"/>
                    <a:pt x="645" y="243"/>
                    <a:pt x="645" y="243"/>
                  </a:cubicBezTo>
                  <a:cubicBezTo>
                    <a:pt x="667" y="215"/>
                    <a:pt x="667" y="215"/>
                    <a:pt x="667" y="215"/>
                  </a:cubicBezTo>
                  <a:cubicBezTo>
                    <a:pt x="671" y="211"/>
                    <a:pt x="671" y="204"/>
                    <a:pt x="668" y="198"/>
                  </a:cubicBezTo>
                  <a:cubicBezTo>
                    <a:pt x="663" y="188"/>
                    <a:pt x="663" y="188"/>
                    <a:pt x="663" y="188"/>
                  </a:cubicBezTo>
                  <a:cubicBezTo>
                    <a:pt x="663" y="187"/>
                    <a:pt x="663" y="187"/>
                    <a:pt x="662" y="186"/>
                  </a:cubicBezTo>
                  <a:cubicBezTo>
                    <a:pt x="657" y="179"/>
                    <a:pt x="657" y="179"/>
                    <a:pt x="657" y="179"/>
                  </a:cubicBezTo>
                  <a:cubicBezTo>
                    <a:pt x="654" y="174"/>
                    <a:pt x="649" y="171"/>
                    <a:pt x="644" y="171"/>
                  </a:cubicBezTo>
                  <a:cubicBezTo>
                    <a:pt x="607" y="171"/>
                    <a:pt x="607" y="171"/>
                    <a:pt x="607" y="171"/>
                  </a:cubicBezTo>
                  <a:cubicBezTo>
                    <a:pt x="603" y="165"/>
                    <a:pt x="603" y="165"/>
                    <a:pt x="603" y="165"/>
                  </a:cubicBezTo>
                  <a:cubicBezTo>
                    <a:pt x="603" y="165"/>
                    <a:pt x="602" y="165"/>
                    <a:pt x="602" y="165"/>
                  </a:cubicBezTo>
                  <a:cubicBezTo>
                    <a:pt x="599" y="160"/>
                    <a:pt x="599" y="160"/>
                    <a:pt x="599" y="160"/>
                  </a:cubicBezTo>
                  <a:cubicBezTo>
                    <a:pt x="610" y="126"/>
                    <a:pt x="610" y="126"/>
                    <a:pt x="610" y="126"/>
                  </a:cubicBezTo>
                  <a:cubicBezTo>
                    <a:pt x="612" y="120"/>
                    <a:pt x="610" y="113"/>
                    <a:pt x="606" y="109"/>
                  </a:cubicBezTo>
                  <a:cubicBezTo>
                    <a:pt x="591" y="94"/>
                    <a:pt x="591" y="94"/>
                    <a:pt x="591" y="94"/>
                  </a:cubicBezTo>
                  <a:cubicBezTo>
                    <a:pt x="586" y="89"/>
                    <a:pt x="580" y="88"/>
                    <a:pt x="574" y="90"/>
                  </a:cubicBezTo>
                  <a:cubicBezTo>
                    <a:pt x="540" y="101"/>
                    <a:pt x="540" y="101"/>
                    <a:pt x="540" y="101"/>
                  </a:cubicBezTo>
                  <a:cubicBezTo>
                    <a:pt x="540" y="101"/>
                    <a:pt x="539" y="101"/>
                    <a:pt x="539" y="100"/>
                  </a:cubicBezTo>
                  <a:cubicBezTo>
                    <a:pt x="533" y="97"/>
                    <a:pt x="533" y="97"/>
                    <a:pt x="533" y="97"/>
                  </a:cubicBezTo>
                  <a:cubicBezTo>
                    <a:pt x="528" y="93"/>
                    <a:pt x="528" y="93"/>
                    <a:pt x="528" y="93"/>
                  </a:cubicBezTo>
                  <a:cubicBezTo>
                    <a:pt x="528" y="56"/>
                    <a:pt x="528" y="56"/>
                    <a:pt x="528" y="56"/>
                  </a:cubicBezTo>
                  <a:cubicBezTo>
                    <a:pt x="528" y="50"/>
                    <a:pt x="525" y="44"/>
                    <a:pt x="519" y="42"/>
                  </a:cubicBezTo>
                  <a:cubicBezTo>
                    <a:pt x="509" y="37"/>
                    <a:pt x="509" y="37"/>
                    <a:pt x="509" y="37"/>
                  </a:cubicBezTo>
                  <a:cubicBezTo>
                    <a:pt x="509" y="36"/>
                    <a:pt x="509" y="36"/>
                    <a:pt x="508" y="36"/>
                  </a:cubicBezTo>
                  <a:cubicBezTo>
                    <a:pt x="499" y="32"/>
                    <a:pt x="499" y="32"/>
                    <a:pt x="499" y="32"/>
                  </a:cubicBezTo>
                  <a:cubicBezTo>
                    <a:pt x="494" y="30"/>
                    <a:pt x="488" y="31"/>
                    <a:pt x="484" y="34"/>
                  </a:cubicBezTo>
                  <a:cubicBezTo>
                    <a:pt x="454" y="55"/>
                    <a:pt x="454" y="55"/>
                    <a:pt x="454" y="55"/>
                  </a:cubicBezTo>
                  <a:cubicBezTo>
                    <a:pt x="449" y="53"/>
                    <a:pt x="449" y="53"/>
                    <a:pt x="449" y="53"/>
                  </a:cubicBezTo>
                  <a:cubicBezTo>
                    <a:pt x="448" y="52"/>
                    <a:pt x="447" y="52"/>
                    <a:pt x="447" y="52"/>
                  </a:cubicBezTo>
                  <a:cubicBezTo>
                    <a:pt x="440" y="50"/>
                    <a:pt x="440" y="50"/>
                    <a:pt x="440" y="50"/>
                  </a:cubicBezTo>
                  <a:cubicBezTo>
                    <a:pt x="428" y="16"/>
                    <a:pt x="428" y="16"/>
                    <a:pt x="428" y="16"/>
                  </a:cubicBezTo>
                  <a:cubicBezTo>
                    <a:pt x="427" y="11"/>
                    <a:pt x="422" y="7"/>
                    <a:pt x="417" y="6"/>
                  </a:cubicBezTo>
                  <a:cubicBezTo>
                    <a:pt x="407" y="3"/>
                    <a:pt x="407" y="3"/>
                    <a:pt x="407" y="3"/>
                  </a:cubicBezTo>
                  <a:cubicBezTo>
                    <a:pt x="406" y="3"/>
                    <a:pt x="405" y="3"/>
                    <a:pt x="405" y="3"/>
                  </a:cubicBezTo>
                  <a:cubicBezTo>
                    <a:pt x="394" y="1"/>
                    <a:pt x="394" y="1"/>
                    <a:pt x="394" y="1"/>
                  </a:cubicBezTo>
                  <a:cubicBezTo>
                    <a:pt x="388" y="1"/>
                    <a:pt x="383" y="3"/>
                    <a:pt x="379" y="8"/>
                  </a:cubicBezTo>
                  <a:cubicBezTo>
                    <a:pt x="359" y="38"/>
                    <a:pt x="359" y="38"/>
                    <a:pt x="359" y="38"/>
                  </a:cubicBezTo>
                  <a:cubicBezTo>
                    <a:pt x="352" y="37"/>
                    <a:pt x="352" y="37"/>
                    <a:pt x="352" y="37"/>
                  </a:cubicBezTo>
                  <a:cubicBezTo>
                    <a:pt x="352" y="37"/>
                    <a:pt x="351" y="37"/>
                    <a:pt x="350" y="37"/>
                  </a:cubicBezTo>
                  <a:cubicBezTo>
                    <a:pt x="342" y="38"/>
                    <a:pt x="342" y="38"/>
                    <a:pt x="342" y="38"/>
                  </a:cubicBezTo>
                  <a:cubicBezTo>
                    <a:pt x="322" y="8"/>
                    <a:pt x="322" y="8"/>
                    <a:pt x="322" y="8"/>
                  </a:cubicBezTo>
                  <a:cubicBezTo>
                    <a:pt x="318" y="3"/>
                    <a:pt x="312" y="0"/>
                    <a:pt x="306" y="2"/>
                  </a:cubicBezTo>
                  <a:cubicBezTo>
                    <a:pt x="285" y="5"/>
                    <a:pt x="285" y="5"/>
                    <a:pt x="285" y="5"/>
                  </a:cubicBezTo>
                  <a:cubicBezTo>
                    <a:pt x="279" y="7"/>
                    <a:pt x="275" y="11"/>
                    <a:pt x="273" y="16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1" y="50"/>
                    <a:pt x="261" y="50"/>
                    <a:pt x="261" y="50"/>
                  </a:cubicBezTo>
                  <a:cubicBezTo>
                    <a:pt x="253" y="52"/>
                    <a:pt x="253" y="52"/>
                    <a:pt x="253" y="52"/>
                  </a:cubicBezTo>
                  <a:cubicBezTo>
                    <a:pt x="253" y="52"/>
                    <a:pt x="253" y="53"/>
                    <a:pt x="253" y="53"/>
                  </a:cubicBezTo>
                  <a:cubicBezTo>
                    <a:pt x="247" y="55"/>
                    <a:pt x="247" y="55"/>
                    <a:pt x="247" y="55"/>
                  </a:cubicBezTo>
                  <a:cubicBezTo>
                    <a:pt x="217" y="34"/>
                    <a:pt x="217" y="34"/>
                    <a:pt x="217" y="34"/>
                  </a:cubicBezTo>
                  <a:cubicBezTo>
                    <a:pt x="213" y="31"/>
                    <a:pt x="207" y="30"/>
                    <a:pt x="202" y="32"/>
                  </a:cubicBezTo>
                  <a:cubicBezTo>
                    <a:pt x="193" y="36"/>
                    <a:pt x="193" y="36"/>
                    <a:pt x="193" y="36"/>
                  </a:cubicBezTo>
                  <a:cubicBezTo>
                    <a:pt x="192" y="36"/>
                    <a:pt x="192" y="36"/>
                    <a:pt x="192" y="37"/>
                  </a:cubicBezTo>
                  <a:cubicBezTo>
                    <a:pt x="181" y="42"/>
                    <a:pt x="181" y="42"/>
                    <a:pt x="181" y="42"/>
                  </a:cubicBezTo>
                  <a:cubicBezTo>
                    <a:pt x="176" y="45"/>
                    <a:pt x="172" y="50"/>
                    <a:pt x="173" y="57"/>
                  </a:cubicBezTo>
                  <a:cubicBezTo>
                    <a:pt x="174" y="93"/>
                    <a:pt x="174" y="93"/>
                    <a:pt x="174" y="93"/>
                  </a:cubicBezTo>
                  <a:cubicBezTo>
                    <a:pt x="162" y="101"/>
                    <a:pt x="162" y="101"/>
                    <a:pt x="162" y="101"/>
                  </a:cubicBezTo>
                  <a:cubicBezTo>
                    <a:pt x="127" y="90"/>
                    <a:pt x="127" y="90"/>
                    <a:pt x="127" y="90"/>
                  </a:cubicBezTo>
                  <a:cubicBezTo>
                    <a:pt x="121" y="88"/>
                    <a:pt x="115" y="89"/>
                    <a:pt x="110" y="94"/>
                  </a:cubicBezTo>
                  <a:cubicBezTo>
                    <a:pt x="95" y="109"/>
                    <a:pt x="95" y="109"/>
                    <a:pt x="95" y="109"/>
                  </a:cubicBezTo>
                  <a:cubicBezTo>
                    <a:pt x="90" y="113"/>
                    <a:pt x="89" y="120"/>
                    <a:pt x="91" y="126"/>
                  </a:cubicBezTo>
                  <a:cubicBezTo>
                    <a:pt x="102" y="159"/>
                    <a:pt x="102" y="159"/>
                    <a:pt x="102" y="159"/>
                  </a:cubicBezTo>
                  <a:cubicBezTo>
                    <a:pt x="102" y="159"/>
                    <a:pt x="102" y="160"/>
                    <a:pt x="101" y="160"/>
                  </a:cubicBezTo>
                  <a:cubicBezTo>
                    <a:pt x="98" y="166"/>
                    <a:pt x="98" y="166"/>
                    <a:pt x="98" y="166"/>
                  </a:cubicBezTo>
                  <a:cubicBezTo>
                    <a:pt x="94" y="171"/>
                    <a:pt x="94" y="171"/>
                    <a:pt x="94" y="171"/>
                  </a:cubicBezTo>
                  <a:cubicBezTo>
                    <a:pt x="57" y="171"/>
                    <a:pt x="57" y="171"/>
                    <a:pt x="57" y="171"/>
                  </a:cubicBezTo>
                  <a:cubicBezTo>
                    <a:pt x="52" y="171"/>
                    <a:pt x="47" y="174"/>
                    <a:pt x="44" y="179"/>
                  </a:cubicBezTo>
                  <a:cubicBezTo>
                    <a:pt x="39" y="186"/>
                    <a:pt x="39" y="186"/>
                    <a:pt x="39" y="186"/>
                  </a:cubicBezTo>
                  <a:cubicBezTo>
                    <a:pt x="38" y="187"/>
                    <a:pt x="38" y="187"/>
                    <a:pt x="38" y="188"/>
                  </a:cubicBezTo>
                  <a:cubicBezTo>
                    <a:pt x="32" y="198"/>
                    <a:pt x="32" y="198"/>
                    <a:pt x="32" y="198"/>
                  </a:cubicBezTo>
                  <a:cubicBezTo>
                    <a:pt x="30" y="204"/>
                    <a:pt x="30" y="211"/>
                    <a:pt x="34" y="215"/>
                  </a:cubicBezTo>
                  <a:cubicBezTo>
                    <a:pt x="56" y="243"/>
                    <a:pt x="56" y="243"/>
                    <a:pt x="56" y="243"/>
                  </a:cubicBezTo>
                  <a:cubicBezTo>
                    <a:pt x="53" y="251"/>
                    <a:pt x="53" y="251"/>
                    <a:pt x="53" y="251"/>
                  </a:cubicBezTo>
                  <a:cubicBezTo>
                    <a:pt x="53" y="251"/>
                    <a:pt x="53" y="252"/>
                    <a:pt x="53" y="252"/>
                  </a:cubicBezTo>
                  <a:cubicBezTo>
                    <a:pt x="52" y="258"/>
                    <a:pt x="52" y="258"/>
                    <a:pt x="52" y="258"/>
                  </a:cubicBezTo>
                  <a:cubicBezTo>
                    <a:pt x="17" y="269"/>
                    <a:pt x="17" y="269"/>
                    <a:pt x="17" y="269"/>
                  </a:cubicBezTo>
                  <a:cubicBezTo>
                    <a:pt x="11" y="270"/>
                    <a:pt x="7" y="275"/>
                    <a:pt x="5" y="280"/>
                  </a:cubicBezTo>
                  <a:cubicBezTo>
                    <a:pt x="3" y="291"/>
                    <a:pt x="3" y="291"/>
                    <a:pt x="3" y="291"/>
                  </a:cubicBezTo>
                  <a:cubicBezTo>
                    <a:pt x="3" y="291"/>
                    <a:pt x="3" y="292"/>
                    <a:pt x="2" y="293"/>
                  </a:cubicBezTo>
                  <a:cubicBezTo>
                    <a:pt x="1" y="304"/>
                    <a:pt x="1" y="304"/>
                    <a:pt x="1" y="304"/>
                  </a:cubicBezTo>
                  <a:cubicBezTo>
                    <a:pt x="1" y="310"/>
                    <a:pt x="3" y="316"/>
                    <a:pt x="9" y="320"/>
                  </a:cubicBezTo>
                  <a:cubicBezTo>
                    <a:pt x="39" y="339"/>
                    <a:pt x="39" y="339"/>
                    <a:pt x="39" y="339"/>
                  </a:cubicBezTo>
                  <a:cubicBezTo>
                    <a:pt x="39" y="345"/>
                    <a:pt x="39" y="345"/>
                    <a:pt x="39" y="345"/>
                  </a:cubicBezTo>
                  <a:cubicBezTo>
                    <a:pt x="38" y="346"/>
                    <a:pt x="38" y="346"/>
                    <a:pt x="39" y="347"/>
                  </a:cubicBezTo>
                  <a:cubicBezTo>
                    <a:pt x="39" y="353"/>
                    <a:pt x="39" y="353"/>
                    <a:pt x="39" y="353"/>
                  </a:cubicBezTo>
                  <a:cubicBezTo>
                    <a:pt x="8" y="374"/>
                    <a:pt x="8" y="374"/>
                    <a:pt x="8" y="374"/>
                  </a:cubicBezTo>
                  <a:cubicBezTo>
                    <a:pt x="3" y="377"/>
                    <a:pt x="0" y="384"/>
                    <a:pt x="1" y="390"/>
                  </a:cubicBezTo>
                  <a:cubicBezTo>
                    <a:pt x="5" y="411"/>
                    <a:pt x="5" y="411"/>
                    <a:pt x="5" y="411"/>
                  </a:cubicBezTo>
                  <a:cubicBezTo>
                    <a:pt x="6" y="417"/>
                    <a:pt x="10" y="421"/>
                    <a:pt x="16" y="423"/>
                  </a:cubicBezTo>
                  <a:cubicBezTo>
                    <a:pt x="52" y="435"/>
                    <a:pt x="52" y="435"/>
                    <a:pt x="52" y="435"/>
                  </a:cubicBezTo>
                  <a:cubicBezTo>
                    <a:pt x="53" y="440"/>
                    <a:pt x="53" y="440"/>
                    <a:pt x="53" y="440"/>
                  </a:cubicBezTo>
                  <a:cubicBezTo>
                    <a:pt x="53" y="441"/>
                    <a:pt x="53" y="442"/>
                    <a:pt x="54" y="443"/>
                  </a:cubicBezTo>
                  <a:cubicBezTo>
                    <a:pt x="56" y="449"/>
                    <a:pt x="56" y="449"/>
                    <a:pt x="56" y="449"/>
                  </a:cubicBezTo>
                  <a:cubicBezTo>
                    <a:pt x="34" y="478"/>
                    <a:pt x="34" y="478"/>
                    <a:pt x="34" y="478"/>
                  </a:cubicBezTo>
                  <a:cubicBezTo>
                    <a:pt x="30" y="483"/>
                    <a:pt x="30" y="490"/>
                    <a:pt x="33" y="496"/>
                  </a:cubicBezTo>
                  <a:cubicBezTo>
                    <a:pt x="43" y="514"/>
                    <a:pt x="43" y="514"/>
                    <a:pt x="43" y="514"/>
                  </a:cubicBezTo>
                  <a:cubicBezTo>
                    <a:pt x="46" y="519"/>
                    <a:pt x="52" y="522"/>
                    <a:pt x="58" y="522"/>
                  </a:cubicBezTo>
                  <a:cubicBezTo>
                    <a:pt x="94" y="521"/>
                    <a:pt x="94" y="521"/>
                    <a:pt x="94" y="521"/>
                  </a:cubicBezTo>
                  <a:cubicBezTo>
                    <a:pt x="98" y="527"/>
                    <a:pt x="98" y="527"/>
                    <a:pt x="98" y="527"/>
                  </a:cubicBezTo>
                  <a:cubicBezTo>
                    <a:pt x="98" y="528"/>
                    <a:pt x="98" y="528"/>
                    <a:pt x="99" y="529"/>
                  </a:cubicBezTo>
                  <a:cubicBezTo>
                    <a:pt x="102" y="533"/>
                    <a:pt x="102" y="533"/>
                    <a:pt x="102" y="533"/>
                  </a:cubicBezTo>
                  <a:cubicBezTo>
                    <a:pt x="91" y="568"/>
                    <a:pt x="91" y="568"/>
                    <a:pt x="91" y="568"/>
                  </a:cubicBezTo>
                  <a:cubicBezTo>
                    <a:pt x="89" y="573"/>
                    <a:pt x="90" y="580"/>
                    <a:pt x="95" y="584"/>
                  </a:cubicBezTo>
                  <a:cubicBezTo>
                    <a:pt x="110" y="600"/>
                    <a:pt x="110" y="600"/>
                    <a:pt x="110" y="600"/>
                  </a:cubicBezTo>
                  <a:cubicBezTo>
                    <a:pt x="115" y="604"/>
                    <a:pt x="121" y="605"/>
                    <a:pt x="127" y="603"/>
                  </a:cubicBezTo>
                  <a:cubicBezTo>
                    <a:pt x="162" y="592"/>
                    <a:pt x="162" y="592"/>
                    <a:pt x="162" y="592"/>
                  </a:cubicBezTo>
                  <a:cubicBezTo>
                    <a:pt x="167" y="596"/>
                    <a:pt x="167" y="596"/>
                    <a:pt x="167" y="596"/>
                  </a:cubicBezTo>
                  <a:cubicBezTo>
                    <a:pt x="167" y="596"/>
                    <a:pt x="168" y="596"/>
                    <a:pt x="168" y="596"/>
                  </a:cubicBezTo>
                  <a:cubicBezTo>
                    <a:pt x="174" y="600"/>
                    <a:pt x="174" y="600"/>
                    <a:pt x="174" y="600"/>
                  </a:cubicBezTo>
                  <a:cubicBezTo>
                    <a:pt x="173" y="635"/>
                    <a:pt x="173" y="635"/>
                    <a:pt x="173" y="635"/>
                  </a:cubicBezTo>
                  <a:cubicBezTo>
                    <a:pt x="172" y="641"/>
                    <a:pt x="175" y="647"/>
                    <a:pt x="180" y="650"/>
                  </a:cubicBezTo>
                  <a:cubicBezTo>
                    <a:pt x="190" y="656"/>
                    <a:pt x="190" y="656"/>
                    <a:pt x="190" y="656"/>
                  </a:cubicBezTo>
                  <a:cubicBezTo>
                    <a:pt x="191" y="656"/>
                    <a:pt x="192" y="657"/>
                    <a:pt x="193" y="657"/>
                  </a:cubicBezTo>
                  <a:cubicBezTo>
                    <a:pt x="202" y="661"/>
                    <a:pt x="202" y="661"/>
                    <a:pt x="202" y="661"/>
                  </a:cubicBezTo>
                  <a:cubicBezTo>
                    <a:pt x="207" y="663"/>
                    <a:pt x="213" y="663"/>
                    <a:pt x="218" y="659"/>
                  </a:cubicBezTo>
                  <a:cubicBezTo>
                    <a:pt x="245" y="638"/>
                    <a:pt x="245" y="638"/>
                    <a:pt x="245" y="638"/>
                  </a:cubicBezTo>
                  <a:cubicBezTo>
                    <a:pt x="246" y="639"/>
                    <a:pt x="247" y="639"/>
                    <a:pt x="248" y="639"/>
                  </a:cubicBezTo>
                  <a:cubicBezTo>
                    <a:pt x="254" y="640"/>
                    <a:pt x="254" y="640"/>
                    <a:pt x="254" y="640"/>
                  </a:cubicBezTo>
                  <a:cubicBezTo>
                    <a:pt x="261" y="642"/>
                    <a:pt x="261" y="642"/>
                    <a:pt x="261" y="642"/>
                  </a:cubicBezTo>
                  <a:cubicBezTo>
                    <a:pt x="273" y="677"/>
                    <a:pt x="273" y="677"/>
                    <a:pt x="273" y="677"/>
                  </a:cubicBezTo>
                  <a:cubicBezTo>
                    <a:pt x="275" y="683"/>
                    <a:pt x="280" y="687"/>
                    <a:pt x="286" y="688"/>
                  </a:cubicBezTo>
                  <a:cubicBezTo>
                    <a:pt x="307" y="691"/>
                    <a:pt x="307" y="691"/>
                    <a:pt x="307" y="691"/>
                  </a:cubicBezTo>
                  <a:cubicBezTo>
                    <a:pt x="312" y="691"/>
                    <a:pt x="318" y="689"/>
                    <a:pt x="322" y="684"/>
                  </a:cubicBezTo>
                  <a:cubicBezTo>
                    <a:pt x="343" y="655"/>
                    <a:pt x="343" y="655"/>
                    <a:pt x="343" y="655"/>
                  </a:cubicBezTo>
                  <a:cubicBezTo>
                    <a:pt x="358" y="655"/>
                    <a:pt x="358" y="655"/>
                    <a:pt x="358" y="655"/>
                  </a:cubicBezTo>
                  <a:cubicBezTo>
                    <a:pt x="379" y="684"/>
                    <a:pt x="379" y="684"/>
                    <a:pt x="379" y="684"/>
                  </a:cubicBezTo>
                  <a:cubicBezTo>
                    <a:pt x="382" y="688"/>
                    <a:pt x="387" y="691"/>
                    <a:pt x="392" y="691"/>
                  </a:cubicBezTo>
                  <a:cubicBezTo>
                    <a:pt x="393" y="691"/>
                    <a:pt x="394" y="691"/>
                    <a:pt x="394" y="691"/>
                  </a:cubicBezTo>
                  <a:cubicBezTo>
                    <a:pt x="415" y="688"/>
                    <a:pt x="415" y="688"/>
                    <a:pt x="415" y="688"/>
                  </a:cubicBezTo>
                  <a:cubicBezTo>
                    <a:pt x="421" y="687"/>
                    <a:pt x="426" y="683"/>
                    <a:pt x="428" y="677"/>
                  </a:cubicBezTo>
                  <a:cubicBezTo>
                    <a:pt x="440" y="642"/>
                    <a:pt x="440" y="642"/>
                    <a:pt x="440" y="642"/>
                  </a:cubicBezTo>
                  <a:cubicBezTo>
                    <a:pt x="448" y="640"/>
                    <a:pt x="448" y="640"/>
                    <a:pt x="448" y="640"/>
                  </a:cubicBezTo>
                  <a:cubicBezTo>
                    <a:pt x="448" y="640"/>
                    <a:pt x="448" y="639"/>
                    <a:pt x="448" y="639"/>
                  </a:cubicBezTo>
                  <a:cubicBezTo>
                    <a:pt x="454" y="637"/>
                    <a:pt x="454" y="637"/>
                    <a:pt x="454" y="637"/>
                  </a:cubicBezTo>
                  <a:cubicBezTo>
                    <a:pt x="483" y="659"/>
                    <a:pt x="483" y="659"/>
                    <a:pt x="483" y="659"/>
                  </a:cubicBezTo>
                  <a:cubicBezTo>
                    <a:pt x="488" y="663"/>
                    <a:pt x="494" y="663"/>
                    <a:pt x="499" y="661"/>
                  </a:cubicBezTo>
                  <a:cubicBezTo>
                    <a:pt x="508" y="657"/>
                    <a:pt x="508" y="657"/>
                    <a:pt x="508" y="657"/>
                  </a:cubicBezTo>
                  <a:cubicBezTo>
                    <a:pt x="509" y="657"/>
                    <a:pt x="510" y="656"/>
                    <a:pt x="510" y="656"/>
                  </a:cubicBezTo>
                  <a:cubicBezTo>
                    <a:pt x="521" y="650"/>
                    <a:pt x="521" y="650"/>
                    <a:pt x="521" y="650"/>
                  </a:cubicBezTo>
                  <a:cubicBezTo>
                    <a:pt x="525" y="647"/>
                    <a:pt x="528" y="641"/>
                    <a:pt x="528" y="636"/>
                  </a:cubicBezTo>
                  <a:cubicBezTo>
                    <a:pt x="528" y="600"/>
                    <a:pt x="528" y="600"/>
                    <a:pt x="528" y="600"/>
                  </a:cubicBezTo>
                  <a:cubicBezTo>
                    <a:pt x="533" y="596"/>
                    <a:pt x="533" y="596"/>
                    <a:pt x="533" y="596"/>
                  </a:cubicBezTo>
                  <a:cubicBezTo>
                    <a:pt x="539" y="592"/>
                    <a:pt x="539" y="592"/>
                    <a:pt x="539" y="592"/>
                  </a:cubicBezTo>
                  <a:cubicBezTo>
                    <a:pt x="574" y="603"/>
                    <a:pt x="574" y="603"/>
                    <a:pt x="574" y="603"/>
                  </a:cubicBezTo>
                  <a:cubicBezTo>
                    <a:pt x="580" y="605"/>
                    <a:pt x="586" y="604"/>
                    <a:pt x="591" y="600"/>
                  </a:cubicBezTo>
                  <a:cubicBezTo>
                    <a:pt x="606" y="584"/>
                    <a:pt x="606" y="584"/>
                    <a:pt x="606" y="584"/>
                  </a:cubicBezTo>
                  <a:cubicBezTo>
                    <a:pt x="610" y="580"/>
                    <a:pt x="612" y="573"/>
                    <a:pt x="610" y="568"/>
                  </a:cubicBezTo>
                  <a:cubicBezTo>
                    <a:pt x="599" y="533"/>
                    <a:pt x="599" y="533"/>
                    <a:pt x="599" y="533"/>
                  </a:cubicBezTo>
                  <a:cubicBezTo>
                    <a:pt x="602" y="528"/>
                    <a:pt x="602" y="528"/>
                    <a:pt x="602" y="528"/>
                  </a:cubicBezTo>
                  <a:cubicBezTo>
                    <a:pt x="603" y="528"/>
                    <a:pt x="603" y="528"/>
                    <a:pt x="603" y="527"/>
                  </a:cubicBezTo>
                  <a:cubicBezTo>
                    <a:pt x="607" y="521"/>
                    <a:pt x="607" y="521"/>
                    <a:pt x="607" y="521"/>
                  </a:cubicBezTo>
                  <a:cubicBezTo>
                    <a:pt x="643" y="522"/>
                    <a:pt x="643" y="522"/>
                    <a:pt x="643" y="522"/>
                  </a:cubicBezTo>
                  <a:cubicBezTo>
                    <a:pt x="649" y="522"/>
                    <a:pt x="655" y="519"/>
                    <a:pt x="658" y="514"/>
                  </a:cubicBezTo>
                  <a:cubicBezTo>
                    <a:pt x="668" y="496"/>
                    <a:pt x="668" y="496"/>
                    <a:pt x="668" y="496"/>
                  </a:cubicBezTo>
                  <a:cubicBezTo>
                    <a:pt x="671" y="490"/>
                    <a:pt x="671" y="483"/>
                    <a:pt x="667" y="478"/>
                  </a:cubicBezTo>
                  <a:cubicBezTo>
                    <a:pt x="645" y="449"/>
                    <a:pt x="645" y="449"/>
                    <a:pt x="645" y="449"/>
                  </a:cubicBezTo>
                  <a:cubicBezTo>
                    <a:pt x="647" y="443"/>
                    <a:pt x="647" y="443"/>
                    <a:pt x="647" y="443"/>
                  </a:cubicBezTo>
                  <a:cubicBezTo>
                    <a:pt x="647" y="443"/>
                    <a:pt x="648" y="442"/>
                    <a:pt x="648" y="441"/>
                  </a:cubicBezTo>
                  <a:cubicBezTo>
                    <a:pt x="649" y="435"/>
                    <a:pt x="649" y="435"/>
                    <a:pt x="649" y="435"/>
                  </a:cubicBezTo>
                  <a:cubicBezTo>
                    <a:pt x="685" y="423"/>
                    <a:pt x="685" y="423"/>
                    <a:pt x="685" y="423"/>
                  </a:cubicBezTo>
                  <a:cubicBezTo>
                    <a:pt x="691" y="421"/>
                    <a:pt x="695" y="416"/>
                    <a:pt x="696" y="410"/>
                  </a:cubicBezTo>
                  <a:cubicBezTo>
                    <a:pt x="698" y="389"/>
                    <a:pt x="698" y="389"/>
                    <a:pt x="698" y="389"/>
                  </a:cubicBezTo>
                  <a:cubicBezTo>
                    <a:pt x="699" y="383"/>
                    <a:pt x="697" y="377"/>
                    <a:pt x="692" y="37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CH" sz="1600" dirty="0"/>
            </a:p>
          </p:txBody>
        </p:sp>
        <p:sp>
          <p:nvSpPr>
            <p:cNvPr id="12" name="Oval 15">
              <a:extLst>
                <a:ext uri="{FF2B5EF4-FFF2-40B4-BE49-F238E27FC236}">
                  <a16:creationId xmlns:a16="http://schemas.microsoft.com/office/drawing/2014/main" id="{F5938136-4F51-4880-8E8C-38E53EEA4AF7}"/>
                </a:ext>
              </a:extLst>
            </p:cNvPr>
            <p:cNvSpPr/>
            <p:nvPr/>
          </p:nvSpPr>
          <p:spPr>
            <a:xfrm>
              <a:off x="11696315" y="6362315"/>
              <a:ext cx="359032" cy="35903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</p:grpSp>
    </p:spTree>
    <p:extLst>
      <p:ext uri="{BB962C8B-B14F-4D97-AF65-F5344CB8AC3E}">
        <p14:creationId xmlns:p14="http://schemas.microsoft.com/office/powerpoint/2010/main" val="17284813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5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metable 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Bildplatzhalter 14"/>
          <p:cNvSpPr>
            <a:spLocks noGrp="1"/>
          </p:cNvSpPr>
          <p:nvPr>
            <p:ph type="pic" sz="quarter" idx="21" hasCustomPrompt="1"/>
            <p:custDataLst>
              <p:tags r:id="rId2"/>
            </p:custDataLst>
          </p:nvPr>
        </p:nvSpPr>
        <p:spPr>
          <a:xfrm>
            <a:off x="6384032" y="4293096"/>
            <a:ext cx="5184576" cy="1800200"/>
          </a:xfrm>
          <a:prstGeom prst="roundRect">
            <a:avLst>
              <a:gd name="adj" fmla="val 7055"/>
            </a:avLst>
          </a:prstGeom>
          <a:solidFill>
            <a:schemeClr val="bg1">
              <a:lumMod val="75000"/>
            </a:schemeClr>
          </a:solidFill>
        </p:spPr>
        <p:txBody>
          <a:bodyPr tIns="792000" anchor="ctr"/>
          <a:lstStyle>
            <a:lvl1pPr algn="ctr">
              <a:spcBef>
                <a:spcPts val="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</a:t>
            </a:r>
            <a:br>
              <a:rPr lang="en-US" dirty="0"/>
            </a:br>
            <a:r>
              <a:rPr lang="en-US" dirty="0"/>
              <a:t>to add picture</a:t>
            </a:r>
          </a:p>
        </p:txBody>
      </p:sp>
      <p:sp>
        <p:nvSpPr>
          <p:cNvPr id="35" name="Bildplatzhalter 14"/>
          <p:cNvSpPr>
            <a:spLocks noGrp="1"/>
          </p:cNvSpPr>
          <p:nvPr>
            <p:ph type="pic" sz="quarter" idx="22" hasCustomPrompt="1"/>
            <p:custDataLst>
              <p:tags r:id="rId3"/>
            </p:custDataLst>
          </p:nvPr>
        </p:nvSpPr>
        <p:spPr>
          <a:xfrm>
            <a:off x="766815" y="4293096"/>
            <a:ext cx="5184576" cy="1800200"/>
          </a:xfrm>
          <a:prstGeom prst="roundRect">
            <a:avLst>
              <a:gd name="adj" fmla="val 7055"/>
            </a:avLst>
          </a:prstGeom>
          <a:solidFill>
            <a:schemeClr val="bg1">
              <a:lumMod val="75000"/>
            </a:schemeClr>
          </a:solidFill>
        </p:spPr>
        <p:txBody>
          <a:bodyPr tIns="792000" anchor="ctr"/>
          <a:lstStyle>
            <a:lvl1pPr algn="ctr">
              <a:spcBef>
                <a:spcPts val="0"/>
              </a:spcBef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</a:t>
            </a:r>
            <a:br>
              <a:rPr lang="en-US" dirty="0"/>
            </a:br>
            <a:r>
              <a:rPr lang="en-US" dirty="0"/>
              <a:t>to add picture</a:t>
            </a:r>
          </a:p>
        </p:txBody>
      </p:sp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think-cell Slide" r:id="rId7" imgW="353" imgH="353" progId="TCLayout.ActiveDocument.1">
                  <p:embed/>
                </p:oleObj>
              </mc:Choice>
              <mc:Fallback>
                <p:oleObj name="think-cell Slide" r:id="rId7" imgW="353" imgH="353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ußzeilenplatzhalter 6"/>
          <p:cNvSpPr>
            <a:spLocks noGrp="1"/>
          </p:cNvSpPr>
          <p:nvPr>
            <p:ph type="ftr" sz="quarter" idx="24"/>
          </p:nvPr>
        </p:nvSpPr>
        <p:spPr bwMode="gray"/>
        <p:txBody>
          <a:bodyPr/>
          <a:lstStyle/>
          <a:p>
            <a:r>
              <a:rPr lang="en-US"/>
              <a:t>Title of presentation | DD.MM.YYYY</a:t>
            </a:r>
            <a:endParaRPr lang="en-US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25"/>
          </p:nvPr>
        </p:nvSpPr>
        <p:spPr bwMode="gray"/>
        <p:txBody>
          <a:bodyPr/>
          <a:lstStyle/>
          <a:p>
            <a:fld id="{215533F2-C0B5-4315-85D8-5EA869B6EE8B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11" name="MIO_VALID_LAYOUT" hidden="1"/>
          <p:cNvSpPr/>
          <p:nvPr userDrawn="1"/>
        </p:nvSpPr>
        <p:spPr bwMode="gray">
          <a:xfrm>
            <a:off x="11856640" y="6597171"/>
            <a:ext cx="335360" cy="26082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de-DE" sz="1600" kern="0" dirty="0" err="1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19" name="Title 4"/>
          <p:cNvSpPr>
            <a:spLocks noGrp="1"/>
          </p:cNvSpPr>
          <p:nvPr>
            <p:ph type="title" hasCustomPrompt="1"/>
          </p:nvPr>
        </p:nvSpPr>
        <p:spPr>
          <a:xfrm>
            <a:off x="623888" y="730800"/>
            <a:ext cx="10944225" cy="325952"/>
          </a:xfrm>
        </p:spPr>
        <p:txBody>
          <a:bodyPr/>
          <a:lstStyle/>
          <a:p>
            <a:r>
              <a:rPr lang="en-GB" dirty="0"/>
              <a:t>Insert slide title here (max. 2 lines | max. 1 line with Action Title)</a:t>
            </a:r>
            <a:endParaRPr lang="de-DE" dirty="0"/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47008" y="3776427"/>
            <a:ext cx="916250" cy="802744"/>
          </a:xfrm>
          <a:custGeom>
            <a:avLst/>
            <a:gdLst>
              <a:gd name="connsiteX0" fmla="*/ 859304 w 916250"/>
              <a:gd name="connsiteY0" fmla="*/ 104 h 802744"/>
              <a:gd name="connsiteX1" fmla="*/ 913032 w 916250"/>
              <a:gd name="connsiteY1" fmla="*/ 66292 h 802744"/>
              <a:gd name="connsiteX2" fmla="*/ 710519 w 916250"/>
              <a:gd name="connsiteY2" fmla="*/ 740582 h 802744"/>
              <a:gd name="connsiteX3" fmla="*/ 650592 w 916250"/>
              <a:gd name="connsiteY3" fmla="*/ 802633 h 802744"/>
              <a:gd name="connsiteX4" fmla="*/ 34789 w 916250"/>
              <a:gd name="connsiteY4" fmla="*/ 610274 h 802744"/>
              <a:gd name="connsiteX5" fmla="*/ 1725 w 916250"/>
              <a:gd name="connsiteY5" fmla="*/ 539950 h 802744"/>
              <a:gd name="connsiteX6" fmla="*/ 136045 w 916250"/>
              <a:gd name="connsiteY6" fmla="*/ 138685 h 802744"/>
              <a:gd name="connsiteX7" fmla="*/ 218703 w 916250"/>
              <a:gd name="connsiteY7" fmla="*/ 62155 h 802744"/>
              <a:gd name="connsiteX8" fmla="*/ 859304 w 916250"/>
              <a:gd name="connsiteY8" fmla="*/ 104 h 802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16250" h="802744">
                <a:moveTo>
                  <a:pt x="859304" y="104"/>
                </a:moveTo>
                <a:cubicBezTo>
                  <a:pt x="890301" y="-1964"/>
                  <a:pt x="927497" y="26993"/>
                  <a:pt x="913032" y="66292"/>
                </a:cubicBezTo>
                <a:cubicBezTo>
                  <a:pt x="913032" y="66292"/>
                  <a:pt x="913032" y="66292"/>
                  <a:pt x="710519" y="740582"/>
                </a:cubicBezTo>
                <a:cubicBezTo>
                  <a:pt x="702254" y="777812"/>
                  <a:pt x="677456" y="804701"/>
                  <a:pt x="650592" y="802633"/>
                </a:cubicBezTo>
                <a:cubicBezTo>
                  <a:pt x="650592" y="802633"/>
                  <a:pt x="650592" y="802633"/>
                  <a:pt x="34789" y="610274"/>
                </a:cubicBezTo>
                <a:cubicBezTo>
                  <a:pt x="30656" y="608206"/>
                  <a:pt x="-8607" y="595796"/>
                  <a:pt x="1725" y="539950"/>
                </a:cubicBezTo>
                <a:cubicBezTo>
                  <a:pt x="1725" y="535813"/>
                  <a:pt x="133978" y="142822"/>
                  <a:pt x="136045" y="138685"/>
                </a:cubicBezTo>
                <a:cubicBezTo>
                  <a:pt x="150510" y="99386"/>
                  <a:pt x="187706" y="64224"/>
                  <a:pt x="218703" y="62155"/>
                </a:cubicBezTo>
                <a:cubicBezTo>
                  <a:pt x="218703" y="62155"/>
                  <a:pt x="218703" y="62155"/>
                  <a:pt x="859304" y="104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lIns="90000" tIns="46800" rIns="90000" bIns="46800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0" baseline="0">
                <a:solidFill>
                  <a:schemeClr val="accent4"/>
                </a:solidFill>
                <a:latin typeface="Merck" panose="02060803030401040103" pitchFamily="18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err="1"/>
              <a:t>xxxx</a:t>
            </a:r>
            <a:endParaRPr lang="de-DE" dirty="0"/>
          </a:p>
        </p:txBody>
      </p:sp>
      <p:sp>
        <p:nvSpPr>
          <p:cNvPr id="32" name="Textplatzhalter 31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6289032" y="3776427"/>
            <a:ext cx="916250" cy="802744"/>
          </a:xfrm>
          <a:custGeom>
            <a:avLst/>
            <a:gdLst>
              <a:gd name="connsiteX0" fmla="*/ 859304 w 916250"/>
              <a:gd name="connsiteY0" fmla="*/ 104 h 802744"/>
              <a:gd name="connsiteX1" fmla="*/ 913032 w 916250"/>
              <a:gd name="connsiteY1" fmla="*/ 66292 h 802744"/>
              <a:gd name="connsiteX2" fmla="*/ 710519 w 916250"/>
              <a:gd name="connsiteY2" fmla="*/ 740582 h 802744"/>
              <a:gd name="connsiteX3" fmla="*/ 650592 w 916250"/>
              <a:gd name="connsiteY3" fmla="*/ 802633 h 802744"/>
              <a:gd name="connsiteX4" fmla="*/ 34788 w 916250"/>
              <a:gd name="connsiteY4" fmla="*/ 610274 h 802744"/>
              <a:gd name="connsiteX5" fmla="*/ 1725 w 916250"/>
              <a:gd name="connsiteY5" fmla="*/ 539950 h 802744"/>
              <a:gd name="connsiteX6" fmla="*/ 136045 w 916250"/>
              <a:gd name="connsiteY6" fmla="*/ 138685 h 802744"/>
              <a:gd name="connsiteX7" fmla="*/ 218703 w 916250"/>
              <a:gd name="connsiteY7" fmla="*/ 62155 h 802744"/>
              <a:gd name="connsiteX8" fmla="*/ 859304 w 916250"/>
              <a:gd name="connsiteY8" fmla="*/ 104 h 802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16250" h="802744">
                <a:moveTo>
                  <a:pt x="859304" y="104"/>
                </a:moveTo>
                <a:cubicBezTo>
                  <a:pt x="890301" y="-1964"/>
                  <a:pt x="927497" y="26993"/>
                  <a:pt x="913032" y="66292"/>
                </a:cubicBezTo>
                <a:cubicBezTo>
                  <a:pt x="913032" y="66292"/>
                  <a:pt x="913032" y="66292"/>
                  <a:pt x="710519" y="740582"/>
                </a:cubicBezTo>
                <a:cubicBezTo>
                  <a:pt x="702254" y="777812"/>
                  <a:pt x="677456" y="804701"/>
                  <a:pt x="650592" y="802633"/>
                </a:cubicBezTo>
                <a:cubicBezTo>
                  <a:pt x="650592" y="802633"/>
                  <a:pt x="650592" y="802633"/>
                  <a:pt x="34788" y="610274"/>
                </a:cubicBezTo>
                <a:cubicBezTo>
                  <a:pt x="30655" y="608206"/>
                  <a:pt x="-8607" y="595796"/>
                  <a:pt x="1725" y="539950"/>
                </a:cubicBezTo>
                <a:cubicBezTo>
                  <a:pt x="1725" y="535813"/>
                  <a:pt x="133978" y="142822"/>
                  <a:pt x="136045" y="138685"/>
                </a:cubicBezTo>
                <a:cubicBezTo>
                  <a:pt x="150510" y="99386"/>
                  <a:pt x="187706" y="64224"/>
                  <a:pt x="218703" y="62155"/>
                </a:cubicBezTo>
                <a:cubicBezTo>
                  <a:pt x="218703" y="62155"/>
                  <a:pt x="218703" y="62155"/>
                  <a:pt x="859304" y="104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lIns="90000" tIns="46800" rIns="90000" bIns="46800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0" baseline="0">
                <a:solidFill>
                  <a:schemeClr val="accent4"/>
                </a:solidFill>
                <a:latin typeface="Merck" panose="02060803030401040103" pitchFamily="18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err="1"/>
              <a:t>xxxx</a:t>
            </a:r>
            <a:endParaRPr lang="de-DE" dirty="0"/>
          </a:p>
        </p:txBody>
      </p:sp>
      <p:sp>
        <p:nvSpPr>
          <p:cNvPr id="12" name="Freeform 11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" name="Freeform 12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14" name="Group 12">
            <a:extLst>
              <a:ext uri="{FF2B5EF4-FFF2-40B4-BE49-F238E27FC236}">
                <a16:creationId xmlns:a16="http://schemas.microsoft.com/office/drawing/2014/main" id="{C031DBB2-5A41-4347-B724-EE7D6E67F172}"/>
              </a:ext>
            </a:extLst>
          </p:cNvPr>
          <p:cNvGrpSpPr/>
          <p:nvPr userDrawn="1"/>
        </p:nvGrpSpPr>
        <p:grpSpPr>
          <a:xfrm>
            <a:off x="11588238" y="6254238"/>
            <a:ext cx="575187" cy="575187"/>
            <a:chOff x="11588238" y="6254238"/>
            <a:chExt cx="575187" cy="575187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3DF96468-20E6-4B54-9242-15AEB8F3163A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gray">
            <a:xfrm>
              <a:off x="11588238" y="6254238"/>
              <a:ext cx="575187" cy="575187"/>
            </a:xfrm>
            <a:custGeom>
              <a:avLst/>
              <a:gdLst>
                <a:gd name="T0" fmla="*/ 662 w 699"/>
                <a:gd name="T1" fmla="*/ 347 h 691"/>
                <a:gd name="T2" fmla="*/ 691 w 699"/>
                <a:gd name="T3" fmla="*/ 320 h 691"/>
                <a:gd name="T4" fmla="*/ 684 w 699"/>
                <a:gd name="T5" fmla="*/ 269 h 691"/>
                <a:gd name="T6" fmla="*/ 645 w 699"/>
                <a:gd name="T7" fmla="*/ 243 h 691"/>
                <a:gd name="T8" fmla="*/ 663 w 699"/>
                <a:gd name="T9" fmla="*/ 188 h 691"/>
                <a:gd name="T10" fmla="*/ 644 w 699"/>
                <a:gd name="T11" fmla="*/ 171 h 691"/>
                <a:gd name="T12" fmla="*/ 602 w 699"/>
                <a:gd name="T13" fmla="*/ 165 h 691"/>
                <a:gd name="T14" fmla="*/ 606 w 699"/>
                <a:gd name="T15" fmla="*/ 109 h 691"/>
                <a:gd name="T16" fmla="*/ 540 w 699"/>
                <a:gd name="T17" fmla="*/ 101 h 691"/>
                <a:gd name="T18" fmla="*/ 528 w 699"/>
                <a:gd name="T19" fmla="*/ 93 h 691"/>
                <a:gd name="T20" fmla="*/ 509 w 699"/>
                <a:gd name="T21" fmla="*/ 37 h 691"/>
                <a:gd name="T22" fmla="*/ 484 w 699"/>
                <a:gd name="T23" fmla="*/ 34 h 691"/>
                <a:gd name="T24" fmla="*/ 447 w 699"/>
                <a:gd name="T25" fmla="*/ 52 h 691"/>
                <a:gd name="T26" fmla="*/ 417 w 699"/>
                <a:gd name="T27" fmla="*/ 6 h 691"/>
                <a:gd name="T28" fmla="*/ 394 w 699"/>
                <a:gd name="T29" fmla="*/ 1 h 691"/>
                <a:gd name="T30" fmla="*/ 352 w 699"/>
                <a:gd name="T31" fmla="*/ 37 h 691"/>
                <a:gd name="T32" fmla="*/ 322 w 699"/>
                <a:gd name="T33" fmla="*/ 8 h 691"/>
                <a:gd name="T34" fmla="*/ 273 w 699"/>
                <a:gd name="T35" fmla="*/ 16 h 691"/>
                <a:gd name="T36" fmla="*/ 253 w 699"/>
                <a:gd name="T37" fmla="*/ 52 h 691"/>
                <a:gd name="T38" fmla="*/ 217 w 699"/>
                <a:gd name="T39" fmla="*/ 34 h 691"/>
                <a:gd name="T40" fmla="*/ 192 w 699"/>
                <a:gd name="T41" fmla="*/ 37 h 691"/>
                <a:gd name="T42" fmla="*/ 174 w 699"/>
                <a:gd name="T43" fmla="*/ 93 h 691"/>
                <a:gd name="T44" fmla="*/ 110 w 699"/>
                <a:gd name="T45" fmla="*/ 94 h 691"/>
                <a:gd name="T46" fmla="*/ 102 w 699"/>
                <a:gd name="T47" fmla="*/ 159 h 691"/>
                <a:gd name="T48" fmla="*/ 94 w 699"/>
                <a:gd name="T49" fmla="*/ 171 h 691"/>
                <a:gd name="T50" fmla="*/ 39 w 699"/>
                <a:gd name="T51" fmla="*/ 186 h 691"/>
                <a:gd name="T52" fmla="*/ 34 w 699"/>
                <a:gd name="T53" fmla="*/ 215 h 691"/>
                <a:gd name="T54" fmla="*/ 53 w 699"/>
                <a:gd name="T55" fmla="*/ 252 h 691"/>
                <a:gd name="T56" fmla="*/ 5 w 699"/>
                <a:gd name="T57" fmla="*/ 280 h 691"/>
                <a:gd name="T58" fmla="*/ 1 w 699"/>
                <a:gd name="T59" fmla="*/ 304 h 691"/>
                <a:gd name="T60" fmla="*/ 39 w 699"/>
                <a:gd name="T61" fmla="*/ 345 h 691"/>
                <a:gd name="T62" fmla="*/ 8 w 699"/>
                <a:gd name="T63" fmla="*/ 374 h 691"/>
                <a:gd name="T64" fmla="*/ 16 w 699"/>
                <a:gd name="T65" fmla="*/ 423 h 691"/>
                <a:gd name="T66" fmla="*/ 54 w 699"/>
                <a:gd name="T67" fmla="*/ 443 h 691"/>
                <a:gd name="T68" fmla="*/ 33 w 699"/>
                <a:gd name="T69" fmla="*/ 496 h 691"/>
                <a:gd name="T70" fmla="*/ 94 w 699"/>
                <a:gd name="T71" fmla="*/ 521 h 691"/>
                <a:gd name="T72" fmla="*/ 102 w 699"/>
                <a:gd name="T73" fmla="*/ 533 h 691"/>
                <a:gd name="T74" fmla="*/ 110 w 699"/>
                <a:gd name="T75" fmla="*/ 600 h 691"/>
                <a:gd name="T76" fmla="*/ 167 w 699"/>
                <a:gd name="T77" fmla="*/ 596 h 691"/>
                <a:gd name="T78" fmla="*/ 173 w 699"/>
                <a:gd name="T79" fmla="*/ 635 h 691"/>
                <a:gd name="T80" fmla="*/ 193 w 699"/>
                <a:gd name="T81" fmla="*/ 657 h 691"/>
                <a:gd name="T82" fmla="*/ 245 w 699"/>
                <a:gd name="T83" fmla="*/ 638 h 691"/>
                <a:gd name="T84" fmla="*/ 261 w 699"/>
                <a:gd name="T85" fmla="*/ 642 h 691"/>
                <a:gd name="T86" fmla="*/ 307 w 699"/>
                <a:gd name="T87" fmla="*/ 691 h 691"/>
                <a:gd name="T88" fmla="*/ 358 w 699"/>
                <a:gd name="T89" fmla="*/ 655 h 691"/>
                <a:gd name="T90" fmla="*/ 394 w 699"/>
                <a:gd name="T91" fmla="*/ 691 h 691"/>
                <a:gd name="T92" fmla="*/ 440 w 699"/>
                <a:gd name="T93" fmla="*/ 642 h 691"/>
                <a:gd name="T94" fmla="*/ 454 w 699"/>
                <a:gd name="T95" fmla="*/ 637 h 691"/>
                <a:gd name="T96" fmla="*/ 508 w 699"/>
                <a:gd name="T97" fmla="*/ 657 h 691"/>
                <a:gd name="T98" fmla="*/ 528 w 699"/>
                <a:gd name="T99" fmla="*/ 636 h 691"/>
                <a:gd name="T100" fmla="*/ 539 w 699"/>
                <a:gd name="T101" fmla="*/ 592 h 691"/>
                <a:gd name="T102" fmla="*/ 606 w 699"/>
                <a:gd name="T103" fmla="*/ 584 h 691"/>
                <a:gd name="T104" fmla="*/ 602 w 699"/>
                <a:gd name="T105" fmla="*/ 528 h 691"/>
                <a:gd name="T106" fmla="*/ 643 w 699"/>
                <a:gd name="T107" fmla="*/ 522 h 691"/>
                <a:gd name="T108" fmla="*/ 667 w 699"/>
                <a:gd name="T109" fmla="*/ 478 h 691"/>
                <a:gd name="T110" fmla="*/ 648 w 699"/>
                <a:gd name="T111" fmla="*/ 441 h 691"/>
                <a:gd name="T112" fmla="*/ 696 w 699"/>
                <a:gd name="T113" fmla="*/ 410 h 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99" h="691">
                  <a:moveTo>
                    <a:pt x="692" y="374"/>
                  </a:moveTo>
                  <a:cubicBezTo>
                    <a:pt x="662" y="354"/>
                    <a:pt x="662" y="354"/>
                    <a:pt x="662" y="354"/>
                  </a:cubicBezTo>
                  <a:cubicBezTo>
                    <a:pt x="662" y="347"/>
                    <a:pt x="662" y="347"/>
                    <a:pt x="662" y="347"/>
                  </a:cubicBezTo>
                  <a:cubicBezTo>
                    <a:pt x="662" y="346"/>
                    <a:pt x="662" y="346"/>
                    <a:pt x="662" y="345"/>
                  </a:cubicBezTo>
                  <a:cubicBezTo>
                    <a:pt x="662" y="339"/>
                    <a:pt x="662" y="339"/>
                    <a:pt x="662" y="339"/>
                  </a:cubicBezTo>
                  <a:cubicBezTo>
                    <a:pt x="691" y="320"/>
                    <a:pt x="691" y="320"/>
                    <a:pt x="691" y="320"/>
                  </a:cubicBezTo>
                  <a:cubicBezTo>
                    <a:pt x="696" y="316"/>
                    <a:pt x="699" y="310"/>
                    <a:pt x="698" y="304"/>
                  </a:cubicBezTo>
                  <a:cubicBezTo>
                    <a:pt x="696" y="282"/>
                    <a:pt x="696" y="282"/>
                    <a:pt x="696" y="282"/>
                  </a:cubicBezTo>
                  <a:cubicBezTo>
                    <a:pt x="695" y="276"/>
                    <a:pt x="691" y="271"/>
                    <a:pt x="684" y="269"/>
                  </a:cubicBezTo>
                  <a:cubicBezTo>
                    <a:pt x="650" y="259"/>
                    <a:pt x="650" y="259"/>
                    <a:pt x="650" y="259"/>
                  </a:cubicBezTo>
                  <a:cubicBezTo>
                    <a:pt x="650" y="259"/>
                    <a:pt x="650" y="259"/>
                    <a:pt x="650" y="258"/>
                  </a:cubicBezTo>
                  <a:cubicBezTo>
                    <a:pt x="645" y="243"/>
                    <a:pt x="645" y="243"/>
                    <a:pt x="645" y="243"/>
                  </a:cubicBezTo>
                  <a:cubicBezTo>
                    <a:pt x="667" y="215"/>
                    <a:pt x="667" y="215"/>
                    <a:pt x="667" y="215"/>
                  </a:cubicBezTo>
                  <a:cubicBezTo>
                    <a:pt x="671" y="211"/>
                    <a:pt x="671" y="204"/>
                    <a:pt x="668" y="198"/>
                  </a:cubicBezTo>
                  <a:cubicBezTo>
                    <a:pt x="663" y="188"/>
                    <a:pt x="663" y="188"/>
                    <a:pt x="663" y="188"/>
                  </a:cubicBezTo>
                  <a:cubicBezTo>
                    <a:pt x="663" y="187"/>
                    <a:pt x="663" y="187"/>
                    <a:pt x="662" y="186"/>
                  </a:cubicBezTo>
                  <a:cubicBezTo>
                    <a:pt x="657" y="179"/>
                    <a:pt x="657" y="179"/>
                    <a:pt x="657" y="179"/>
                  </a:cubicBezTo>
                  <a:cubicBezTo>
                    <a:pt x="654" y="174"/>
                    <a:pt x="649" y="171"/>
                    <a:pt x="644" y="171"/>
                  </a:cubicBezTo>
                  <a:cubicBezTo>
                    <a:pt x="607" y="171"/>
                    <a:pt x="607" y="171"/>
                    <a:pt x="607" y="171"/>
                  </a:cubicBezTo>
                  <a:cubicBezTo>
                    <a:pt x="603" y="165"/>
                    <a:pt x="603" y="165"/>
                    <a:pt x="603" y="165"/>
                  </a:cubicBezTo>
                  <a:cubicBezTo>
                    <a:pt x="603" y="165"/>
                    <a:pt x="602" y="165"/>
                    <a:pt x="602" y="165"/>
                  </a:cubicBezTo>
                  <a:cubicBezTo>
                    <a:pt x="599" y="160"/>
                    <a:pt x="599" y="160"/>
                    <a:pt x="599" y="160"/>
                  </a:cubicBezTo>
                  <a:cubicBezTo>
                    <a:pt x="610" y="126"/>
                    <a:pt x="610" y="126"/>
                    <a:pt x="610" y="126"/>
                  </a:cubicBezTo>
                  <a:cubicBezTo>
                    <a:pt x="612" y="120"/>
                    <a:pt x="610" y="113"/>
                    <a:pt x="606" y="109"/>
                  </a:cubicBezTo>
                  <a:cubicBezTo>
                    <a:pt x="591" y="94"/>
                    <a:pt x="591" y="94"/>
                    <a:pt x="591" y="94"/>
                  </a:cubicBezTo>
                  <a:cubicBezTo>
                    <a:pt x="586" y="89"/>
                    <a:pt x="580" y="88"/>
                    <a:pt x="574" y="90"/>
                  </a:cubicBezTo>
                  <a:cubicBezTo>
                    <a:pt x="540" y="101"/>
                    <a:pt x="540" y="101"/>
                    <a:pt x="540" y="101"/>
                  </a:cubicBezTo>
                  <a:cubicBezTo>
                    <a:pt x="540" y="101"/>
                    <a:pt x="539" y="101"/>
                    <a:pt x="539" y="100"/>
                  </a:cubicBezTo>
                  <a:cubicBezTo>
                    <a:pt x="533" y="97"/>
                    <a:pt x="533" y="97"/>
                    <a:pt x="533" y="97"/>
                  </a:cubicBezTo>
                  <a:cubicBezTo>
                    <a:pt x="528" y="93"/>
                    <a:pt x="528" y="93"/>
                    <a:pt x="528" y="93"/>
                  </a:cubicBezTo>
                  <a:cubicBezTo>
                    <a:pt x="528" y="56"/>
                    <a:pt x="528" y="56"/>
                    <a:pt x="528" y="56"/>
                  </a:cubicBezTo>
                  <a:cubicBezTo>
                    <a:pt x="528" y="50"/>
                    <a:pt x="525" y="44"/>
                    <a:pt x="519" y="42"/>
                  </a:cubicBezTo>
                  <a:cubicBezTo>
                    <a:pt x="509" y="37"/>
                    <a:pt x="509" y="37"/>
                    <a:pt x="509" y="37"/>
                  </a:cubicBezTo>
                  <a:cubicBezTo>
                    <a:pt x="509" y="36"/>
                    <a:pt x="509" y="36"/>
                    <a:pt x="508" y="36"/>
                  </a:cubicBezTo>
                  <a:cubicBezTo>
                    <a:pt x="499" y="32"/>
                    <a:pt x="499" y="32"/>
                    <a:pt x="499" y="32"/>
                  </a:cubicBezTo>
                  <a:cubicBezTo>
                    <a:pt x="494" y="30"/>
                    <a:pt x="488" y="31"/>
                    <a:pt x="484" y="34"/>
                  </a:cubicBezTo>
                  <a:cubicBezTo>
                    <a:pt x="454" y="55"/>
                    <a:pt x="454" y="55"/>
                    <a:pt x="454" y="55"/>
                  </a:cubicBezTo>
                  <a:cubicBezTo>
                    <a:pt x="449" y="53"/>
                    <a:pt x="449" y="53"/>
                    <a:pt x="449" y="53"/>
                  </a:cubicBezTo>
                  <a:cubicBezTo>
                    <a:pt x="448" y="52"/>
                    <a:pt x="447" y="52"/>
                    <a:pt x="447" y="52"/>
                  </a:cubicBezTo>
                  <a:cubicBezTo>
                    <a:pt x="440" y="50"/>
                    <a:pt x="440" y="50"/>
                    <a:pt x="440" y="50"/>
                  </a:cubicBezTo>
                  <a:cubicBezTo>
                    <a:pt x="428" y="16"/>
                    <a:pt x="428" y="16"/>
                    <a:pt x="428" y="16"/>
                  </a:cubicBezTo>
                  <a:cubicBezTo>
                    <a:pt x="427" y="11"/>
                    <a:pt x="422" y="7"/>
                    <a:pt x="417" y="6"/>
                  </a:cubicBezTo>
                  <a:cubicBezTo>
                    <a:pt x="407" y="3"/>
                    <a:pt x="407" y="3"/>
                    <a:pt x="407" y="3"/>
                  </a:cubicBezTo>
                  <a:cubicBezTo>
                    <a:pt x="406" y="3"/>
                    <a:pt x="405" y="3"/>
                    <a:pt x="405" y="3"/>
                  </a:cubicBezTo>
                  <a:cubicBezTo>
                    <a:pt x="394" y="1"/>
                    <a:pt x="394" y="1"/>
                    <a:pt x="394" y="1"/>
                  </a:cubicBezTo>
                  <a:cubicBezTo>
                    <a:pt x="388" y="1"/>
                    <a:pt x="383" y="3"/>
                    <a:pt x="379" y="8"/>
                  </a:cubicBezTo>
                  <a:cubicBezTo>
                    <a:pt x="359" y="38"/>
                    <a:pt x="359" y="38"/>
                    <a:pt x="359" y="38"/>
                  </a:cubicBezTo>
                  <a:cubicBezTo>
                    <a:pt x="352" y="37"/>
                    <a:pt x="352" y="37"/>
                    <a:pt x="352" y="37"/>
                  </a:cubicBezTo>
                  <a:cubicBezTo>
                    <a:pt x="352" y="37"/>
                    <a:pt x="351" y="37"/>
                    <a:pt x="350" y="37"/>
                  </a:cubicBezTo>
                  <a:cubicBezTo>
                    <a:pt x="342" y="38"/>
                    <a:pt x="342" y="38"/>
                    <a:pt x="342" y="38"/>
                  </a:cubicBezTo>
                  <a:cubicBezTo>
                    <a:pt x="322" y="8"/>
                    <a:pt x="322" y="8"/>
                    <a:pt x="322" y="8"/>
                  </a:cubicBezTo>
                  <a:cubicBezTo>
                    <a:pt x="318" y="3"/>
                    <a:pt x="312" y="0"/>
                    <a:pt x="306" y="2"/>
                  </a:cubicBezTo>
                  <a:cubicBezTo>
                    <a:pt x="285" y="5"/>
                    <a:pt x="285" y="5"/>
                    <a:pt x="285" y="5"/>
                  </a:cubicBezTo>
                  <a:cubicBezTo>
                    <a:pt x="279" y="7"/>
                    <a:pt x="275" y="11"/>
                    <a:pt x="273" y="16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1" y="50"/>
                    <a:pt x="261" y="50"/>
                    <a:pt x="261" y="50"/>
                  </a:cubicBezTo>
                  <a:cubicBezTo>
                    <a:pt x="253" y="52"/>
                    <a:pt x="253" y="52"/>
                    <a:pt x="253" y="52"/>
                  </a:cubicBezTo>
                  <a:cubicBezTo>
                    <a:pt x="253" y="52"/>
                    <a:pt x="253" y="53"/>
                    <a:pt x="253" y="53"/>
                  </a:cubicBezTo>
                  <a:cubicBezTo>
                    <a:pt x="247" y="55"/>
                    <a:pt x="247" y="55"/>
                    <a:pt x="247" y="55"/>
                  </a:cubicBezTo>
                  <a:cubicBezTo>
                    <a:pt x="217" y="34"/>
                    <a:pt x="217" y="34"/>
                    <a:pt x="217" y="34"/>
                  </a:cubicBezTo>
                  <a:cubicBezTo>
                    <a:pt x="213" y="31"/>
                    <a:pt x="207" y="30"/>
                    <a:pt x="202" y="32"/>
                  </a:cubicBezTo>
                  <a:cubicBezTo>
                    <a:pt x="193" y="36"/>
                    <a:pt x="193" y="36"/>
                    <a:pt x="193" y="36"/>
                  </a:cubicBezTo>
                  <a:cubicBezTo>
                    <a:pt x="192" y="36"/>
                    <a:pt x="192" y="36"/>
                    <a:pt x="192" y="37"/>
                  </a:cubicBezTo>
                  <a:cubicBezTo>
                    <a:pt x="181" y="42"/>
                    <a:pt x="181" y="42"/>
                    <a:pt x="181" y="42"/>
                  </a:cubicBezTo>
                  <a:cubicBezTo>
                    <a:pt x="176" y="45"/>
                    <a:pt x="172" y="50"/>
                    <a:pt x="173" y="57"/>
                  </a:cubicBezTo>
                  <a:cubicBezTo>
                    <a:pt x="174" y="93"/>
                    <a:pt x="174" y="93"/>
                    <a:pt x="174" y="93"/>
                  </a:cubicBezTo>
                  <a:cubicBezTo>
                    <a:pt x="162" y="101"/>
                    <a:pt x="162" y="101"/>
                    <a:pt x="162" y="101"/>
                  </a:cubicBezTo>
                  <a:cubicBezTo>
                    <a:pt x="127" y="90"/>
                    <a:pt x="127" y="90"/>
                    <a:pt x="127" y="90"/>
                  </a:cubicBezTo>
                  <a:cubicBezTo>
                    <a:pt x="121" y="88"/>
                    <a:pt x="115" y="89"/>
                    <a:pt x="110" y="94"/>
                  </a:cubicBezTo>
                  <a:cubicBezTo>
                    <a:pt x="95" y="109"/>
                    <a:pt x="95" y="109"/>
                    <a:pt x="95" y="109"/>
                  </a:cubicBezTo>
                  <a:cubicBezTo>
                    <a:pt x="90" y="113"/>
                    <a:pt x="89" y="120"/>
                    <a:pt x="91" y="126"/>
                  </a:cubicBezTo>
                  <a:cubicBezTo>
                    <a:pt x="102" y="159"/>
                    <a:pt x="102" y="159"/>
                    <a:pt x="102" y="159"/>
                  </a:cubicBezTo>
                  <a:cubicBezTo>
                    <a:pt x="102" y="159"/>
                    <a:pt x="102" y="160"/>
                    <a:pt x="101" y="160"/>
                  </a:cubicBezTo>
                  <a:cubicBezTo>
                    <a:pt x="98" y="166"/>
                    <a:pt x="98" y="166"/>
                    <a:pt x="98" y="166"/>
                  </a:cubicBezTo>
                  <a:cubicBezTo>
                    <a:pt x="94" y="171"/>
                    <a:pt x="94" y="171"/>
                    <a:pt x="94" y="171"/>
                  </a:cubicBezTo>
                  <a:cubicBezTo>
                    <a:pt x="57" y="171"/>
                    <a:pt x="57" y="171"/>
                    <a:pt x="57" y="171"/>
                  </a:cubicBezTo>
                  <a:cubicBezTo>
                    <a:pt x="52" y="171"/>
                    <a:pt x="47" y="174"/>
                    <a:pt x="44" y="179"/>
                  </a:cubicBezTo>
                  <a:cubicBezTo>
                    <a:pt x="39" y="186"/>
                    <a:pt x="39" y="186"/>
                    <a:pt x="39" y="186"/>
                  </a:cubicBezTo>
                  <a:cubicBezTo>
                    <a:pt x="38" y="187"/>
                    <a:pt x="38" y="187"/>
                    <a:pt x="38" y="188"/>
                  </a:cubicBezTo>
                  <a:cubicBezTo>
                    <a:pt x="32" y="198"/>
                    <a:pt x="32" y="198"/>
                    <a:pt x="32" y="198"/>
                  </a:cubicBezTo>
                  <a:cubicBezTo>
                    <a:pt x="30" y="204"/>
                    <a:pt x="30" y="211"/>
                    <a:pt x="34" y="215"/>
                  </a:cubicBezTo>
                  <a:cubicBezTo>
                    <a:pt x="56" y="243"/>
                    <a:pt x="56" y="243"/>
                    <a:pt x="56" y="243"/>
                  </a:cubicBezTo>
                  <a:cubicBezTo>
                    <a:pt x="53" y="251"/>
                    <a:pt x="53" y="251"/>
                    <a:pt x="53" y="251"/>
                  </a:cubicBezTo>
                  <a:cubicBezTo>
                    <a:pt x="53" y="251"/>
                    <a:pt x="53" y="252"/>
                    <a:pt x="53" y="252"/>
                  </a:cubicBezTo>
                  <a:cubicBezTo>
                    <a:pt x="52" y="258"/>
                    <a:pt x="52" y="258"/>
                    <a:pt x="52" y="258"/>
                  </a:cubicBezTo>
                  <a:cubicBezTo>
                    <a:pt x="17" y="269"/>
                    <a:pt x="17" y="269"/>
                    <a:pt x="17" y="269"/>
                  </a:cubicBezTo>
                  <a:cubicBezTo>
                    <a:pt x="11" y="270"/>
                    <a:pt x="7" y="275"/>
                    <a:pt x="5" y="280"/>
                  </a:cubicBezTo>
                  <a:cubicBezTo>
                    <a:pt x="3" y="291"/>
                    <a:pt x="3" y="291"/>
                    <a:pt x="3" y="291"/>
                  </a:cubicBezTo>
                  <a:cubicBezTo>
                    <a:pt x="3" y="291"/>
                    <a:pt x="3" y="292"/>
                    <a:pt x="2" y="293"/>
                  </a:cubicBezTo>
                  <a:cubicBezTo>
                    <a:pt x="1" y="304"/>
                    <a:pt x="1" y="304"/>
                    <a:pt x="1" y="304"/>
                  </a:cubicBezTo>
                  <a:cubicBezTo>
                    <a:pt x="1" y="310"/>
                    <a:pt x="3" y="316"/>
                    <a:pt x="9" y="320"/>
                  </a:cubicBezTo>
                  <a:cubicBezTo>
                    <a:pt x="39" y="339"/>
                    <a:pt x="39" y="339"/>
                    <a:pt x="39" y="339"/>
                  </a:cubicBezTo>
                  <a:cubicBezTo>
                    <a:pt x="39" y="345"/>
                    <a:pt x="39" y="345"/>
                    <a:pt x="39" y="345"/>
                  </a:cubicBezTo>
                  <a:cubicBezTo>
                    <a:pt x="38" y="346"/>
                    <a:pt x="38" y="346"/>
                    <a:pt x="39" y="347"/>
                  </a:cubicBezTo>
                  <a:cubicBezTo>
                    <a:pt x="39" y="353"/>
                    <a:pt x="39" y="353"/>
                    <a:pt x="39" y="353"/>
                  </a:cubicBezTo>
                  <a:cubicBezTo>
                    <a:pt x="8" y="374"/>
                    <a:pt x="8" y="374"/>
                    <a:pt x="8" y="374"/>
                  </a:cubicBezTo>
                  <a:cubicBezTo>
                    <a:pt x="3" y="377"/>
                    <a:pt x="0" y="384"/>
                    <a:pt x="1" y="390"/>
                  </a:cubicBezTo>
                  <a:cubicBezTo>
                    <a:pt x="5" y="411"/>
                    <a:pt x="5" y="411"/>
                    <a:pt x="5" y="411"/>
                  </a:cubicBezTo>
                  <a:cubicBezTo>
                    <a:pt x="6" y="417"/>
                    <a:pt x="10" y="421"/>
                    <a:pt x="16" y="423"/>
                  </a:cubicBezTo>
                  <a:cubicBezTo>
                    <a:pt x="52" y="435"/>
                    <a:pt x="52" y="435"/>
                    <a:pt x="52" y="435"/>
                  </a:cubicBezTo>
                  <a:cubicBezTo>
                    <a:pt x="53" y="440"/>
                    <a:pt x="53" y="440"/>
                    <a:pt x="53" y="440"/>
                  </a:cubicBezTo>
                  <a:cubicBezTo>
                    <a:pt x="53" y="441"/>
                    <a:pt x="53" y="442"/>
                    <a:pt x="54" y="443"/>
                  </a:cubicBezTo>
                  <a:cubicBezTo>
                    <a:pt x="56" y="449"/>
                    <a:pt x="56" y="449"/>
                    <a:pt x="56" y="449"/>
                  </a:cubicBezTo>
                  <a:cubicBezTo>
                    <a:pt x="34" y="478"/>
                    <a:pt x="34" y="478"/>
                    <a:pt x="34" y="478"/>
                  </a:cubicBezTo>
                  <a:cubicBezTo>
                    <a:pt x="30" y="483"/>
                    <a:pt x="30" y="490"/>
                    <a:pt x="33" y="496"/>
                  </a:cubicBezTo>
                  <a:cubicBezTo>
                    <a:pt x="43" y="514"/>
                    <a:pt x="43" y="514"/>
                    <a:pt x="43" y="514"/>
                  </a:cubicBezTo>
                  <a:cubicBezTo>
                    <a:pt x="46" y="519"/>
                    <a:pt x="52" y="522"/>
                    <a:pt x="58" y="522"/>
                  </a:cubicBezTo>
                  <a:cubicBezTo>
                    <a:pt x="94" y="521"/>
                    <a:pt x="94" y="521"/>
                    <a:pt x="94" y="521"/>
                  </a:cubicBezTo>
                  <a:cubicBezTo>
                    <a:pt x="98" y="527"/>
                    <a:pt x="98" y="527"/>
                    <a:pt x="98" y="527"/>
                  </a:cubicBezTo>
                  <a:cubicBezTo>
                    <a:pt x="98" y="528"/>
                    <a:pt x="98" y="528"/>
                    <a:pt x="99" y="529"/>
                  </a:cubicBezTo>
                  <a:cubicBezTo>
                    <a:pt x="102" y="533"/>
                    <a:pt x="102" y="533"/>
                    <a:pt x="102" y="533"/>
                  </a:cubicBezTo>
                  <a:cubicBezTo>
                    <a:pt x="91" y="568"/>
                    <a:pt x="91" y="568"/>
                    <a:pt x="91" y="568"/>
                  </a:cubicBezTo>
                  <a:cubicBezTo>
                    <a:pt x="89" y="573"/>
                    <a:pt x="90" y="580"/>
                    <a:pt x="95" y="584"/>
                  </a:cubicBezTo>
                  <a:cubicBezTo>
                    <a:pt x="110" y="600"/>
                    <a:pt x="110" y="600"/>
                    <a:pt x="110" y="600"/>
                  </a:cubicBezTo>
                  <a:cubicBezTo>
                    <a:pt x="115" y="604"/>
                    <a:pt x="121" y="605"/>
                    <a:pt x="127" y="603"/>
                  </a:cubicBezTo>
                  <a:cubicBezTo>
                    <a:pt x="162" y="592"/>
                    <a:pt x="162" y="592"/>
                    <a:pt x="162" y="592"/>
                  </a:cubicBezTo>
                  <a:cubicBezTo>
                    <a:pt x="167" y="596"/>
                    <a:pt x="167" y="596"/>
                    <a:pt x="167" y="596"/>
                  </a:cubicBezTo>
                  <a:cubicBezTo>
                    <a:pt x="167" y="596"/>
                    <a:pt x="168" y="596"/>
                    <a:pt x="168" y="596"/>
                  </a:cubicBezTo>
                  <a:cubicBezTo>
                    <a:pt x="174" y="600"/>
                    <a:pt x="174" y="600"/>
                    <a:pt x="174" y="600"/>
                  </a:cubicBezTo>
                  <a:cubicBezTo>
                    <a:pt x="173" y="635"/>
                    <a:pt x="173" y="635"/>
                    <a:pt x="173" y="635"/>
                  </a:cubicBezTo>
                  <a:cubicBezTo>
                    <a:pt x="172" y="641"/>
                    <a:pt x="175" y="647"/>
                    <a:pt x="180" y="650"/>
                  </a:cubicBezTo>
                  <a:cubicBezTo>
                    <a:pt x="190" y="656"/>
                    <a:pt x="190" y="656"/>
                    <a:pt x="190" y="656"/>
                  </a:cubicBezTo>
                  <a:cubicBezTo>
                    <a:pt x="191" y="656"/>
                    <a:pt x="192" y="657"/>
                    <a:pt x="193" y="657"/>
                  </a:cubicBezTo>
                  <a:cubicBezTo>
                    <a:pt x="202" y="661"/>
                    <a:pt x="202" y="661"/>
                    <a:pt x="202" y="661"/>
                  </a:cubicBezTo>
                  <a:cubicBezTo>
                    <a:pt x="207" y="663"/>
                    <a:pt x="213" y="663"/>
                    <a:pt x="218" y="659"/>
                  </a:cubicBezTo>
                  <a:cubicBezTo>
                    <a:pt x="245" y="638"/>
                    <a:pt x="245" y="638"/>
                    <a:pt x="245" y="638"/>
                  </a:cubicBezTo>
                  <a:cubicBezTo>
                    <a:pt x="246" y="639"/>
                    <a:pt x="247" y="639"/>
                    <a:pt x="248" y="639"/>
                  </a:cubicBezTo>
                  <a:cubicBezTo>
                    <a:pt x="254" y="640"/>
                    <a:pt x="254" y="640"/>
                    <a:pt x="254" y="640"/>
                  </a:cubicBezTo>
                  <a:cubicBezTo>
                    <a:pt x="261" y="642"/>
                    <a:pt x="261" y="642"/>
                    <a:pt x="261" y="642"/>
                  </a:cubicBezTo>
                  <a:cubicBezTo>
                    <a:pt x="273" y="677"/>
                    <a:pt x="273" y="677"/>
                    <a:pt x="273" y="677"/>
                  </a:cubicBezTo>
                  <a:cubicBezTo>
                    <a:pt x="275" y="683"/>
                    <a:pt x="280" y="687"/>
                    <a:pt x="286" y="688"/>
                  </a:cubicBezTo>
                  <a:cubicBezTo>
                    <a:pt x="307" y="691"/>
                    <a:pt x="307" y="691"/>
                    <a:pt x="307" y="691"/>
                  </a:cubicBezTo>
                  <a:cubicBezTo>
                    <a:pt x="312" y="691"/>
                    <a:pt x="318" y="689"/>
                    <a:pt x="322" y="684"/>
                  </a:cubicBezTo>
                  <a:cubicBezTo>
                    <a:pt x="343" y="655"/>
                    <a:pt x="343" y="655"/>
                    <a:pt x="343" y="655"/>
                  </a:cubicBezTo>
                  <a:cubicBezTo>
                    <a:pt x="358" y="655"/>
                    <a:pt x="358" y="655"/>
                    <a:pt x="358" y="655"/>
                  </a:cubicBezTo>
                  <a:cubicBezTo>
                    <a:pt x="379" y="684"/>
                    <a:pt x="379" y="684"/>
                    <a:pt x="379" y="684"/>
                  </a:cubicBezTo>
                  <a:cubicBezTo>
                    <a:pt x="382" y="688"/>
                    <a:pt x="387" y="691"/>
                    <a:pt x="392" y="691"/>
                  </a:cubicBezTo>
                  <a:cubicBezTo>
                    <a:pt x="393" y="691"/>
                    <a:pt x="394" y="691"/>
                    <a:pt x="394" y="691"/>
                  </a:cubicBezTo>
                  <a:cubicBezTo>
                    <a:pt x="415" y="688"/>
                    <a:pt x="415" y="688"/>
                    <a:pt x="415" y="688"/>
                  </a:cubicBezTo>
                  <a:cubicBezTo>
                    <a:pt x="421" y="687"/>
                    <a:pt x="426" y="683"/>
                    <a:pt x="428" y="677"/>
                  </a:cubicBezTo>
                  <a:cubicBezTo>
                    <a:pt x="440" y="642"/>
                    <a:pt x="440" y="642"/>
                    <a:pt x="440" y="642"/>
                  </a:cubicBezTo>
                  <a:cubicBezTo>
                    <a:pt x="448" y="640"/>
                    <a:pt x="448" y="640"/>
                    <a:pt x="448" y="640"/>
                  </a:cubicBezTo>
                  <a:cubicBezTo>
                    <a:pt x="448" y="640"/>
                    <a:pt x="448" y="639"/>
                    <a:pt x="448" y="639"/>
                  </a:cubicBezTo>
                  <a:cubicBezTo>
                    <a:pt x="454" y="637"/>
                    <a:pt x="454" y="637"/>
                    <a:pt x="454" y="637"/>
                  </a:cubicBezTo>
                  <a:cubicBezTo>
                    <a:pt x="483" y="659"/>
                    <a:pt x="483" y="659"/>
                    <a:pt x="483" y="659"/>
                  </a:cubicBezTo>
                  <a:cubicBezTo>
                    <a:pt x="488" y="663"/>
                    <a:pt x="494" y="663"/>
                    <a:pt x="499" y="661"/>
                  </a:cubicBezTo>
                  <a:cubicBezTo>
                    <a:pt x="508" y="657"/>
                    <a:pt x="508" y="657"/>
                    <a:pt x="508" y="657"/>
                  </a:cubicBezTo>
                  <a:cubicBezTo>
                    <a:pt x="509" y="657"/>
                    <a:pt x="510" y="656"/>
                    <a:pt x="510" y="656"/>
                  </a:cubicBezTo>
                  <a:cubicBezTo>
                    <a:pt x="521" y="650"/>
                    <a:pt x="521" y="650"/>
                    <a:pt x="521" y="650"/>
                  </a:cubicBezTo>
                  <a:cubicBezTo>
                    <a:pt x="525" y="647"/>
                    <a:pt x="528" y="641"/>
                    <a:pt x="528" y="636"/>
                  </a:cubicBezTo>
                  <a:cubicBezTo>
                    <a:pt x="528" y="600"/>
                    <a:pt x="528" y="600"/>
                    <a:pt x="528" y="600"/>
                  </a:cubicBezTo>
                  <a:cubicBezTo>
                    <a:pt x="533" y="596"/>
                    <a:pt x="533" y="596"/>
                    <a:pt x="533" y="596"/>
                  </a:cubicBezTo>
                  <a:cubicBezTo>
                    <a:pt x="539" y="592"/>
                    <a:pt x="539" y="592"/>
                    <a:pt x="539" y="592"/>
                  </a:cubicBezTo>
                  <a:cubicBezTo>
                    <a:pt x="574" y="603"/>
                    <a:pt x="574" y="603"/>
                    <a:pt x="574" y="603"/>
                  </a:cubicBezTo>
                  <a:cubicBezTo>
                    <a:pt x="580" y="605"/>
                    <a:pt x="586" y="604"/>
                    <a:pt x="591" y="600"/>
                  </a:cubicBezTo>
                  <a:cubicBezTo>
                    <a:pt x="606" y="584"/>
                    <a:pt x="606" y="584"/>
                    <a:pt x="606" y="584"/>
                  </a:cubicBezTo>
                  <a:cubicBezTo>
                    <a:pt x="610" y="580"/>
                    <a:pt x="612" y="573"/>
                    <a:pt x="610" y="568"/>
                  </a:cubicBezTo>
                  <a:cubicBezTo>
                    <a:pt x="599" y="533"/>
                    <a:pt x="599" y="533"/>
                    <a:pt x="599" y="533"/>
                  </a:cubicBezTo>
                  <a:cubicBezTo>
                    <a:pt x="602" y="528"/>
                    <a:pt x="602" y="528"/>
                    <a:pt x="602" y="528"/>
                  </a:cubicBezTo>
                  <a:cubicBezTo>
                    <a:pt x="603" y="528"/>
                    <a:pt x="603" y="528"/>
                    <a:pt x="603" y="527"/>
                  </a:cubicBezTo>
                  <a:cubicBezTo>
                    <a:pt x="607" y="521"/>
                    <a:pt x="607" y="521"/>
                    <a:pt x="607" y="521"/>
                  </a:cubicBezTo>
                  <a:cubicBezTo>
                    <a:pt x="643" y="522"/>
                    <a:pt x="643" y="522"/>
                    <a:pt x="643" y="522"/>
                  </a:cubicBezTo>
                  <a:cubicBezTo>
                    <a:pt x="649" y="522"/>
                    <a:pt x="655" y="519"/>
                    <a:pt x="658" y="514"/>
                  </a:cubicBezTo>
                  <a:cubicBezTo>
                    <a:pt x="668" y="496"/>
                    <a:pt x="668" y="496"/>
                    <a:pt x="668" y="496"/>
                  </a:cubicBezTo>
                  <a:cubicBezTo>
                    <a:pt x="671" y="490"/>
                    <a:pt x="671" y="483"/>
                    <a:pt x="667" y="478"/>
                  </a:cubicBezTo>
                  <a:cubicBezTo>
                    <a:pt x="645" y="449"/>
                    <a:pt x="645" y="449"/>
                    <a:pt x="645" y="449"/>
                  </a:cubicBezTo>
                  <a:cubicBezTo>
                    <a:pt x="647" y="443"/>
                    <a:pt x="647" y="443"/>
                    <a:pt x="647" y="443"/>
                  </a:cubicBezTo>
                  <a:cubicBezTo>
                    <a:pt x="647" y="443"/>
                    <a:pt x="648" y="442"/>
                    <a:pt x="648" y="441"/>
                  </a:cubicBezTo>
                  <a:cubicBezTo>
                    <a:pt x="649" y="435"/>
                    <a:pt x="649" y="435"/>
                    <a:pt x="649" y="435"/>
                  </a:cubicBezTo>
                  <a:cubicBezTo>
                    <a:pt x="685" y="423"/>
                    <a:pt x="685" y="423"/>
                    <a:pt x="685" y="423"/>
                  </a:cubicBezTo>
                  <a:cubicBezTo>
                    <a:pt x="691" y="421"/>
                    <a:pt x="695" y="416"/>
                    <a:pt x="696" y="410"/>
                  </a:cubicBezTo>
                  <a:cubicBezTo>
                    <a:pt x="698" y="389"/>
                    <a:pt x="698" y="389"/>
                    <a:pt x="698" y="389"/>
                  </a:cubicBezTo>
                  <a:cubicBezTo>
                    <a:pt x="699" y="383"/>
                    <a:pt x="697" y="377"/>
                    <a:pt x="692" y="37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CH" sz="1600" dirty="0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B4013182-82CD-49B8-B9B8-97AF1FB0C8A8}"/>
                </a:ext>
              </a:extLst>
            </p:cNvPr>
            <p:cNvSpPr/>
            <p:nvPr/>
          </p:nvSpPr>
          <p:spPr>
            <a:xfrm>
              <a:off x="11696315" y="6362315"/>
              <a:ext cx="359032" cy="35903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</p:grpSp>
    </p:spTree>
    <p:extLst>
      <p:ext uri="{BB962C8B-B14F-4D97-AF65-F5344CB8AC3E}">
        <p14:creationId xmlns:p14="http://schemas.microsoft.com/office/powerpoint/2010/main" val="29976259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5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ly Title without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noProof="0"/>
              <a:t>Title of Presentation | DD.MM.YYYY</a:t>
            </a:r>
            <a:endParaRPr lang="en-US" noProof="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FD5E7EB4-4CDF-47BB-AF16-07782904B863}" type="slidenum">
              <a:rPr lang="en-US" noProof="0" smtClean="0"/>
              <a:pPr/>
              <a:t>‹N°›</a:t>
            </a:fld>
            <a:endParaRPr lang="en-US" noProof="0" dirty="0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623888" y="730800"/>
            <a:ext cx="10944225" cy="325952"/>
          </a:xfrm>
        </p:spPr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" name="Freeform 9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11" name="Group 12">
            <a:extLst>
              <a:ext uri="{FF2B5EF4-FFF2-40B4-BE49-F238E27FC236}">
                <a16:creationId xmlns:a16="http://schemas.microsoft.com/office/drawing/2014/main" id="{C522E02F-3014-4CBD-A94B-5A38ECF3D968}"/>
              </a:ext>
            </a:extLst>
          </p:cNvPr>
          <p:cNvGrpSpPr/>
          <p:nvPr userDrawn="1"/>
        </p:nvGrpSpPr>
        <p:grpSpPr>
          <a:xfrm>
            <a:off x="11588238" y="6254238"/>
            <a:ext cx="575187" cy="575187"/>
            <a:chOff x="11588238" y="6254238"/>
            <a:chExt cx="575187" cy="575187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809D0064-8860-4B36-BEDE-FF133E233811}"/>
                </a:ext>
              </a:extLst>
            </p:cNvPr>
            <p:cNvSpPr>
              <a:spLocks/>
            </p:cNvSpPr>
            <p:nvPr>
              <p:custDataLst>
                <p:tags r:id="rId1"/>
              </p:custDataLst>
            </p:nvPr>
          </p:nvSpPr>
          <p:spPr bwMode="gray">
            <a:xfrm>
              <a:off x="11588238" y="6254238"/>
              <a:ext cx="575187" cy="575187"/>
            </a:xfrm>
            <a:custGeom>
              <a:avLst/>
              <a:gdLst>
                <a:gd name="T0" fmla="*/ 662 w 699"/>
                <a:gd name="T1" fmla="*/ 347 h 691"/>
                <a:gd name="T2" fmla="*/ 691 w 699"/>
                <a:gd name="T3" fmla="*/ 320 h 691"/>
                <a:gd name="T4" fmla="*/ 684 w 699"/>
                <a:gd name="T5" fmla="*/ 269 h 691"/>
                <a:gd name="T6" fmla="*/ 645 w 699"/>
                <a:gd name="T7" fmla="*/ 243 h 691"/>
                <a:gd name="T8" fmla="*/ 663 w 699"/>
                <a:gd name="T9" fmla="*/ 188 h 691"/>
                <a:gd name="T10" fmla="*/ 644 w 699"/>
                <a:gd name="T11" fmla="*/ 171 h 691"/>
                <a:gd name="T12" fmla="*/ 602 w 699"/>
                <a:gd name="T13" fmla="*/ 165 h 691"/>
                <a:gd name="T14" fmla="*/ 606 w 699"/>
                <a:gd name="T15" fmla="*/ 109 h 691"/>
                <a:gd name="T16" fmla="*/ 540 w 699"/>
                <a:gd name="T17" fmla="*/ 101 h 691"/>
                <a:gd name="T18" fmla="*/ 528 w 699"/>
                <a:gd name="T19" fmla="*/ 93 h 691"/>
                <a:gd name="T20" fmla="*/ 509 w 699"/>
                <a:gd name="T21" fmla="*/ 37 h 691"/>
                <a:gd name="T22" fmla="*/ 484 w 699"/>
                <a:gd name="T23" fmla="*/ 34 h 691"/>
                <a:gd name="T24" fmla="*/ 447 w 699"/>
                <a:gd name="T25" fmla="*/ 52 h 691"/>
                <a:gd name="T26" fmla="*/ 417 w 699"/>
                <a:gd name="T27" fmla="*/ 6 h 691"/>
                <a:gd name="T28" fmla="*/ 394 w 699"/>
                <a:gd name="T29" fmla="*/ 1 h 691"/>
                <a:gd name="T30" fmla="*/ 352 w 699"/>
                <a:gd name="T31" fmla="*/ 37 h 691"/>
                <a:gd name="T32" fmla="*/ 322 w 699"/>
                <a:gd name="T33" fmla="*/ 8 h 691"/>
                <a:gd name="T34" fmla="*/ 273 w 699"/>
                <a:gd name="T35" fmla="*/ 16 h 691"/>
                <a:gd name="T36" fmla="*/ 253 w 699"/>
                <a:gd name="T37" fmla="*/ 52 h 691"/>
                <a:gd name="T38" fmla="*/ 217 w 699"/>
                <a:gd name="T39" fmla="*/ 34 h 691"/>
                <a:gd name="T40" fmla="*/ 192 w 699"/>
                <a:gd name="T41" fmla="*/ 37 h 691"/>
                <a:gd name="T42" fmla="*/ 174 w 699"/>
                <a:gd name="T43" fmla="*/ 93 h 691"/>
                <a:gd name="T44" fmla="*/ 110 w 699"/>
                <a:gd name="T45" fmla="*/ 94 h 691"/>
                <a:gd name="T46" fmla="*/ 102 w 699"/>
                <a:gd name="T47" fmla="*/ 159 h 691"/>
                <a:gd name="T48" fmla="*/ 94 w 699"/>
                <a:gd name="T49" fmla="*/ 171 h 691"/>
                <a:gd name="T50" fmla="*/ 39 w 699"/>
                <a:gd name="T51" fmla="*/ 186 h 691"/>
                <a:gd name="T52" fmla="*/ 34 w 699"/>
                <a:gd name="T53" fmla="*/ 215 h 691"/>
                <a:gd name="T54" fmla="*/ 53 w 699"/>
                <a:gd name="T55" fmla="*/ 252 h 691"/>
                <a:gd name="T56" fmla="*/ 5 w 699"/>
                <a:gd name="T57" fmla="*/ 280 h 691"/>
                <a:gd name="T58" fmla="*/ 1 w 699"/>
                <a:gd name="T59" fmla="*/ 304 h 691"/>
                <a:gd name="T60" fmla="*/ 39 w 699"/>
                <a:gd name="T61" fmla="*/ 345 h 691"/>
                <a:gd name="T62" fmla="*/ 8 w 699"/>
                <a:gd name="T63" fmla="*/ 374 h 691"/>
                <a:gd name="T64" fmla="*/ 16 w 699"/>
                <a:gd name="T65" fmla="*/ 423 h 691"/>
                <a:gd name="T66" fmla="*/ 54 w 699"/>
                <a:gd name="T67" fmla="*/ 443 h 691"/>
                <a:gd name="T68" fmla="*/ 33 w 699"/>
                <a:gd name="T69" fmla="*/ 496 h 691"/>
                <a:gd name="T70" fmla="*/ 94 w 699"/>
                <a:gd name="T71" fmla="*/ 521 h 691"/>
                <a:gd name="T72" fmla="*/ 102 w 699"/>
                <a:gd name="T73" fmla="*/ 533 h 691"/>
                <a:gd name="T74" fmla="*/ 110 w 699"/>
                <a:gd name="T75" fmla="*/ 600 h 691"/>
                <a:gd name="T76" fmla="*/ 167 w 699"/>
                <a:gd name="T77" fmla="*/ 596 h 691"/>
                <a:gd name="T78" fmla="*/ 173 w 699"/>
                <a:gd name="T79" fmla="*/ 635 h 691"/>
                <a:gd name="T80" fmla="*/ 193 w 699"/>
                <a:gd name="T81" fmla="*/ 657 h 691"/>
                <a:gd name="T82" fmla="*/ 245 w 699"/>
                <a:gd name="T83" fmla="*/ 638 h 691"/>
                <a:gd name="T84" fmla="*/ 261 w 699"/>
                <a:gd name="T85" fmla="*/ 642 h 691"/>
                <a:gd name="T86" fmla="*/ 307 w 699"/>
                <a:gd name="T87" fmla="*/ 691 h 691"/>
                <a:gd name="T88" fmla="*/ 358 w 699"/>
                <a:gd name="T89" fmla="*/ 655 h 691"/>
                <a:gd name="T90" fmla="*/ 394 w 699"/>
                <a:gd name="T91" fmla="*/ 691 h 691"/>
                <a:gd name="T92" fmla="*/ 440 w 699"/>
                <a:gd name="T93" fmla="*/ 642 h 691"/>
                <a:gd name="T94" fmla="*/ 454 w 699"/>
                <a:gd name="T95" fmla="*/ 637 h 691"/>
                <a:gd name="T96" fmla="*/ 508 w 699"/>
                <a:gd name="T97" fmla="*/ 657 h 691"/>
                <a:gd name="T98" fmla="*/ 528 w 699"/>
                <a:gd name="T99" fmla="*/ 636 h 691"/>
                <a:gd name="T100" fmla="*/ 539 w 699"/>
                <a:gd name="T101" fmla="*/ 592 h 691"/>
                <a:gd name="T102" fmla="*/ 606 w 699"/>
                <a:gd name="T103" fmla="*/ 584 h 691"/>
                <a:gd name="T104" fmla="*/ 602 w 699"/>
                <a:gd name="T105" fmla="*/ 528 h 691"/>
                <a:gd name="T106" fmla="*/ 643 w 699"/>
                <a:gd name="T107" fmla="*/ 522 h 691"/>
                <a:gd name="T108" fmla="*/ 667 w 699"/>
                <a:gd name="T109" fmla="*/ 478 h 691"/>
                <a:gd name="T110" fmla="*/ 648 w 699"/>
                <a:gd name="T111" fmla="*/ 441 h 691"/>
                <a:gd name="T112" fmla="*/ 696 w 699"/>
                <a:gd name="T113" fmla="*/ 410 h 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99" h="691">
                  <a:moveTo>
                    <a:pt x="692" y="374"/>
                  </a:moveTo>
                  <a:cubicBezTo>
                    <a:pt x="662" y="354"/>
                    <a:pt x="662" y="354"/>
                    <a:pt x="662" y="354"/>
                  </a:cubicBezTo>
                  <a:cubicBezTo>
                    <a:pt x="662" y="347"/>
                    <a:pt x="662" y="347"/>
                    <a:pt x="662" y="347"/>
                  </a:cubicBezTo>
                  <a:cubicBezTo>
                    <a:pt x="662" y="346"/>
                    <a:pt x="662" y="346"/>
                    <a:pt x="662" y="345"/>
                  </a:cubicBezTo>
                  <a:cubicBezTo>
                    <a:pt x="662" y="339"/>
                    <a:pt x="662" y="339"/>
                    <a:pt x="662" y="339"/>
                  </a:cubicBezTo>
                  <a:cubicBezTo>
                    <a:pt x="691" y="320"/>
                    <a:pt x="691" y="320"/>
                    <a:pt x="691" y="320"/>
                  </a:cubicBezTo>
                  <a:cubicBezTo>
                    <a:pt x="696" y="316"/>
                    <a:pt x="699" y="310"/>
                    <a:pt x="698" y="304"/>
                  </a:cubicBezTo>
                  <a:cubicBezTo>
                    <a:pt x="696" y="282"/>
                    <a:pt x="696" y="282"/>
                    <a:pt x="696" y="282"/>
                  </a:cubicBezTo>
                  <a:cubicBezTo>
                    <a:pt x="695" y="276"/>
                    <a:pt x="691" y="271"/>
                    <a:pt x="684" y="269"/>
                  </a:cubicBezTo>
                  <a:cubicBezTo>
                    <a:pt x="650" y="259"/>
                    <a:pt x="650" y="259"/>
                    <a:pt x="650" y="259"/>
                  </a:cubicBezTo>
                  <a:cubicBezTo>
                    <a:pt x="650" y="259"/>
                    <a:pt x="650" y="259"/>
                    <a:pt x="650" y="258"/>
                  </a:cubicBezTo>
                  <a:cubicBezTo>
                    <a:pt x="645" y="243"/>
                    <a:pt x="645" y="243"/>
                    <a:pt x="645" y="243"/>
                  </a:cubicBezTo>
                  <a:cubicBezTo>
                    <a:pt x="667" y="215"/>
                    <a:pt x="667" y="215"/>
                    <a:pt x="667" y="215"/>
                  </a:cubicBezTo>
                  <a:cubicBezTo>
                    <a:pt x="671" y="211"/>
                    <a:pt x="671" y="204"/>
                    <a:pt x="668" y="198"/>
                  </a:cubicBezTo>
                  <a:cubicBezTo>
                    <a:pt x="663" y="188"/>
                    <a:pt x="663" y="188"/>
                    <a:pt x="663" y="188"/>
                  </a:cubicBezTo>
                  <a:cubicBezTo>
                    <a:pt x="663" y="187"/>
                    <a:pt x="663" y="187"/>
                    <a:pt x="662" y="186"/>
                  </a:cubicBezTo>
                  <a:cubicBezTo>
                    <a:pt x="657" y="179"/>
                    <a:pt x="657" y="179"/>
                    <a:pt x="657" y="179"/>
                  </a:cubicBezTo>
                  <a:cubicBezTo>
                    <a:pt x="654" y="174"/>
                    <a:pt x="649" y="171"/>
                    <a:pt x="644" y="171"/>
                  </a:cubicBezTo>
                  <a:cubicBezTo>
                    <a:pt x="607" y="171"/>
                    <a:pt x="607" y="171"/>
                    <a:pt x="607" y="171"/>
                  </a:cubicBezTo>
                  <a:cubicBezTo>
                    <a:pt x="603" y="165"/>
                    <a:pt x="603" y="165"/>
                    <a:pt x="603" y="165"/>
                  </a:cubicBezTo>
                  <a:cubicBezTo>
                    <a:pt x="603" y="165"/>
                    <a:pt x="602" y="165"/>
                    <a:pt x="602" y="165"/>
                  </a:cubicBezTo>
                  <a:cubicBezTo>
                    <a:pt x="599" y="160"/>
                    <a:pt x="599" y="160"/>
                    <a:pt x="599" y="160"/>
                  </a:cubicBezTo>
                  <a:cubicBezTo>
                    <a:pt x="610" y="126"/>
                    <a:pt x="610" y="126"/>
                    <a:pt x="610" y="126"/>
                  </a:cubicBezTo>
                  <a:cubicBezTo>
                    <a:pt x="612" y="120"/>
                    <a:pt x="610" y="113"/>
                    <a:pt x="606" y="109"/>
                  </a:cubicBezTo>
                  <a:cubicBezTo>
                    <a:pt x="591" y="94"/>
                    <a:pt x="591" y="94"/>
                    <a:pt x="591" y="94"/>
                  </a:cubicBezTo>
                  <a:cubicBezTo>
                    <a:pt x="586" y="89"/>
                    <a:pt x="580" y="88"/>
                    <a:pt x="574" y="90"/>
                  </a:cubicBezTo>
                  <a:cubicBezTo>
                    <a:pt x="540" y="101"/>
                    <a:pt x="540" y="101"/>
                    <a:pt x="540" y="101"/>
                  </a:cubicBezTo>
                  <a:cubicBezTo>
                    <a:pt x="540" y="101"/>
                    <a:pt x="539" y="101"/>
                    <a:pt x="539" y="100"/>
                  </a:cubicBezTo>
                  <a:cubicBezTo>
                    <a:pt x="533" y="97"/>
                    <a:pt x="533" y="97"/>
                    <a:pt x="533" y="97"/>
                  </a:cubicBezTo>
                  <a:cubicBezTo>
                    <a:pt x="528" y="93"/>
                    <a:pt x="528" y="93"/>
                    <a:pt x="528" y="93"/>
                  </a:cubicBezTo>
                  <a:cubicBezTo>
                    <a:pt x="528" y="56"/>
                    <a:pt x="528" y="56"/>
                    <a:pt x="528" y="56"/>
                  </a:cubicBezTo>
                  <a:cubicBezTo>
                    <a:pt x="528" y="50"/>
                    <a:pt x="525" y="44"/>
                    <a:pt x="519" y="42"/>
                  </a:cubicBezTo>
                  <a:cubicBezTo>
                    <a:pt x="509" y="37"/>
                    <a:pt x="509" y="37"/>
                    <a:pt x="509" y="37"/>
                  </a:cubicBezTo>
                  <a:cubicBezTo>
                    <a:pt x="509" y="36"/>
                    <a:pt x="509" y="36"/>
                    <a:pt x="508" y="36"/>
                  </a:cubicBezTo>
                  <a:cubicBezTo>
                    <a:pt x="499" y="32"/>
                    <a:pt x="499" y="32"/>
                    <a:pt x="499" y="32"/>
                  </a:cubicBezTo>
                  <a:cubicBezTo>
                    <a:pt x="494" y="30"/>
                    <a:pt x="488" y="31"/>
                    <a:pt x="484" y="34"/>
                  </a:cubicBezTo>
                  <a:cubicBezTo>
                    <a:pt x="454" y="55"/>
                    <a:pt x="454" y="55"/>
                    <a:pt x="454" y="55"/>
                  </a:cubicBezTo>
                  <a:cubicBezTo>
                    <a:pt x="449" y="53"/>
                    <a:pt x="449" y="53"/>
                    <a:pt x="449" y="53"/>
                  </a:cubicBezTo>
                  <a:cubicBezTo>
                    <a:pt x="448" y="52"/>
                    <a:pt x="447" y="52"/>
                    <a:pt x="447" y="52"/>
                  </a:cubicBezTo>
                  <a:cubicBezTo>
                    <a:pt x="440" y="50"/>
                    <a:pt x="440" y="50"/>
                    <a:pt x="440" y="50"/>
                  </a:cubicBezTo>
                  <a:cubicBezTo>
                    <a:pt x="428" y="16"/>
                    <a:pt x="428" y="16"/>
                    <a:pt x="428" y="16"/>
                  </a:cubicBezTo>
                  <a:cubicBezTo>
                    <a:pt x="427" y="11"/>
                    <a:pt x="422" y="7"/>
                    <a:pt x="417" y="6"/>
                  </a:cubicBezTo>
                  <a:cubicBezTo>
                    <a:pt x="407" y="3"/>
                    <a:pt x="407" y="3"/>
                    <a:pt x="407" y="3"/>
                  </a:cubicBezTo>
                  <a:cubicBezTo>
                    <a:pt x="406" y="3"/>
                    <a:pt x="405" y="3"/>
                    <a:pt x="405" y="3"/>
                  </a:cubicBezTo>
                  <a:cubicBezTo>
                    <a:pt x="394" y="1"/>
                    <a:pt x="394" y="1"/>
                    <a:pt x="394" y="1"/>
                  </a:cubicBezTo>
                  <a:cubicBezTo>
                    <a:pt x="388" y="1"/>
                    <a:pt x="383" y="3"/>
                    <a:pt x="379" y="8"/>
                  </a:cubicBezTo>
                  <a:cubicBezTo>
                    <a:pt x="359" y="38"/>
                    <a:pt x="359" y="38"/>
                    <a:pt x="359" y="38"/>
                  </a:cubicBezTo>
                  <a:cubicBezTo>
                    <a:pt x="352" y="37"/>
                    <a:pt x="352" y="37"/>
                    <a:pt x="352" y="37"/>
                  </a:cubicBezTo>
                  <a:cubicBezTo>
                    <a:pt x="352" y="37"/>
                    <a:pt x="351" y="37"/>
                    <a:pt x="350" y="37"/>
                  </a:cubicBezTo>
                  <a:cubicBezTo>
                    <a:pt x="342" y="38"/>
                    <a:pt x="342" y="38"/>
                    <a:pt x="342" y="38"/>
                  </a:cubicBezTo>
                  <a:cubicBezTo>
                    <a:pt x="322" y="8"/>
                    <a:pt x="322" y="8"/>
                    <a:pt x="322" y="8"/>
                  </a:cubicBezTo>
                  <a:cubicBezTo>
                    <a:pt x="318" y="3"/>
                    <a:pt x="312" y="0"/>
                    <a:pt x="306" y="2"/>
                  </a:cubicBezTo>
                  <a:cubicBezTo>
                    <a:pt x="285" y="5"/>
                    <a:pt x="285" y="5"/>
                    <a:pt x="285" y="5"/>
                  </a:cubicBezTo>
                  <a:cubicBezTo>
                    <a:pt x="279" y="7"/>
                    <a:pt x="275" y="11"/>
                    <a:pt x="273" y="16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1" y="50"/>
                    <a:pt x="261" y="50"/>
                    <a:pt x="261" y="50"/>
                  </a:cubicBezTo>
                  <a:cubicBezTo>
                    <a:pt x="253" y="52"/>
                    <a:pt x="253" y="52"/>
                    <a:pt x="253" y="52"/>
                  </a:cubicBezTo>
                  <a:cubicBezTo>
                    <a:pt x="253" y="52"/>
                    <a:pt x="253" y="53"/>
                    <a:pt x="253" y="53"/>
                  </a:cubicBezTo>
                  <a:cubicBezTo>
                    <a:pt x="247" y="55"/>
                    <a:pt x="247" y="55"/>
                    <a:pt x="247" y="55"/>
                  </a:cubicBezTo>
                  <a:cubicBezTo>
                    <a:pt x="217" y="34"/>
                    <a:pt x="217" y="34"/>
                    <a:pt x="217" y="34"/>
                  </a:cubicBezTo>
                  <a:cubicBezTo>
                    <a:pt x="213" y="31"/>
                    <a:pt x="207" y="30"/>
                    <a:pt x="202" y="32"/>
                  </a:cubicBezTo>
                  <a:cubicBezTo>
                    <a:pt x="193" y="36"/>
                    <a:pt x="193" y="36"/>
                    <a:pt x="193" y="36"/>
                  </a:cubicBezTo>
                  <a:cubicBezTo>
                    <a:pt x="192" y="36"/>
                    <a:pt x="192" y="36"/>
                    <a:pt x="192" y="37"/>
                  </a:cubicBezTo>
                  <a:cubicBezTo>
                    <a:pt x="181" y="42"/>
                    <a:pt x="181" y="42"/>
                    <a:pt x="181" y="42"/>
                  </a:cubicBezTo>
                  <a:cubicBezTo>
                    <a:pt x="176" y="45"/>
                    <a:pt x="172" y="50"/>
                    <a:pt x="173" y="57"/>
                  </a:cubicBezTo>
                  <a:cubicBezTo>
                    <a:pt x="174" y="93"/>
                    <a:pt x="174" y="93"/>
                    <a:pt x="174" y="93"/>
                  </a:cubicBezTo>
                  <a:cubicBezTo>
                    <a:pt x="162" y="101"/>
                    <a:pt x="162" y="101"/>
                    <a:pt x="162" y="101"/>
                  </a:cubicBezTo>
                  <a:cubicBezTo>
                    <a:pt x="127" y="90"/>
                    <a:pt x="127" y="90"/>
                    <a:pt x="127" y="90"/>
                  </a:cubicBezTo>
                  <a:cubicBezTo>
                    <a:pt x="121" y="88"/>
                    <a:pt x="115" y="89"/>
                    <a:pt x="110" y="94"/>
                  </a:cubicBezTo>
                  <a:cubicBezTo>
                    <a:pt x="95" y="109"/>
                    <a:pt x="95" y="109"/>
                    <a:pt x="95" y="109"/>
                  </a:cubicBezTo>
                  <a:cubicBezTo>
                    <a:pt x="90" y="113"/>
                    <a:pt x="89" y="120"/>
                    <a:pt x="91" y="126"/>
                  </a:cubicBezTo>
                  <a:cubicBezTo>
                    <a:pt x="102" y="159"/>
                    <a:pt x="102" y="159"/>
                    <a:pt x="102" y="159"/>
                  </a:cubicBezTo>
                  <a:cubicBezTo>
                    <a:pt x="102" y="159"/>
                    <a:pt x="102" y="160"/>
                    <a:pt x="101" y="160"/>
                  </a:cubicBezTo>
                  <a:cubicBezTo>
                    <a:pt x="98" y="166"/>
                    <a:pt x="98" y="166"/>
                    <a:pt x="98" y="166"/>
                  </a:cubicBezTo>
                  <a:cubicBezTo>
                    <a:pt x="94" y="171"/>
                    <a:pt x="94" y="171"/>
                    <a:pt x="94" y="171"/>
                  </a:cubicBezTo>
                  <a:cubicBezTo>
                    <a:pt x="57" y="171"/>
                    <a:pt x="57" y="171"/>
                    <a:pt x="57" y="171"/>
                  </a:cubicBezTo>
                  <a:cubicBezTo>
                    <a:pt x="52" y="171"/>
                    <a:pt x="47" y="174"/>
                    <a:pt x="44" y="179"/>
                  </a:cubicBezTo>
                  <a:cubicBezTo>
                    <a:pt x="39" y="186"/>
                    <a:pt x="39" y="186"/>
                    <a:pt x="39" y="186"/>
                  </a:cubicBezTo>
                  <a:cubicBezTo>
                    <a:pt x="38" y="187"/>
                    <a:pt x="38" y="187"/>
                    <a:pt x="38" y="188"/>
                  </a:cubicBezTo>
                  <a:cubicBezTo>
                    <a:pt x="32" y="198"/>
                    <a:pt x="32" y="198"/>
                    <a:pt x="32" y="198"/>
                  </a:cubicBezTo>
                  <a:cubicBezTo>
                    <a:pt x="30" y="204"/>
                    <a:pt x="30" y="211"/>
                    <a:pt x="34" y="215"/>
                  </a:cubicBezTo>
                  <a:cubicBezTo>
                    <a:pt x="56" y="243"/>
                    <a:pt x="56" y="243"/>
                    <a:pt x="56" y="243"/>
                  </a:cubicBezTo>
                  <a:cubicBezTo>
                    <a:pt x="53" y="251"/>
                    <a:pt x="53" y="251"/>
                    <a:pt x="53" y="251"/>
                  </a:cubicBezTo>
                  <a:cubicBezTo>
                    <a:pt x="53" y="251"/>
                    <a:pt x="53" y="252"/>
                    <a:pt x="53" y="252"/>
                  </a:cubicBezTo>
                  <a:cubicBezTo>
                    <a:pt x="52" y="258"/>
                    <a:pt x="52" y="258"/>
                    <a:pt x="52" y="258"/>
                  </a:cubicBezTo>
                  <a:cubicBezTo>
                    <a:pt x="17" y="269"/>
                    <a:pt x="17" y="269"/>
                    <a:pt x="17" y="269"/>
                  </a:cubicBezTo>
                  <a:cubicBezTo>
                    <a:pt x="11" y="270"/>
                    <a:pt x="7" y="275"/>
                    <a:pt x="5" y="280"/>
                  </a:cubicBezTo>
                  <a:cubicBezTo>
                    <a:pt x="3" y="291"/>
                    <a:pt x="3" y="291"/>
                    <a:pt x="3" y="291"/>
                  </a:cubicBezTo>
                  <a:cubicBezTo>
                    <a:pt x="3" y="291"/>
                    <a:pt x="3" y="292"/>
                    <a:pt x="2" y="293"/>
                  </a:cubicBezTo>
                  <a:cubicBezTo>
                    <a:pt x="1" y="304"/>
                    <a:pt x="1" y="304"/>
                    <a:pt x="1" y="304"/>
                  </a:cubicBezTo>
                  <a:cubicBezTo>
                    <a:pt x="1" y="310"/>
                    <a:pt x="3" y="316"/>
                    <a:pt x="9" y="320"/>
                  </a:cubicBezTo>
                  <a:cubicBezTo>
                    <a:pt x="39" y="339"/>
                    <a:pt x="39" y="339"/>
                    <a:pt x="39" y="339"/>
                  </a:cubicBezTo>
                  <a:cubicBezTo>
                    <a:pt x="39" y="345"/>
                    <a:pt x="39" y="345"/>
                    <a:pt x="39" y="345"/>
                  </a:cubicBezTo>
                  <a:cubicBezTo>
                    <a:pt x="38" y="346"/>
                    <a:pt x="38" y="346"/>
                    <a:pt x="39" y="347"/>
                  </a:cubicBezTo>
                  <a:cubicBezTo>
                    <a:pt x="39" y="353"/>
                    <a:pt x="39" y="353"/>
                    <a:pt x="39" y="353"/>
                  </a:cubicBezTo>
                  <a:cubicBezTo>
                    <a:pt x="8" y="374"/>
                    <a:pt x="8" y="374"/>
                    <a:pt x="8" y="374"/>
                  </a:cubicBezTo>
                  <a:cubicBezTo>
                    <a:pt x="3" y="377"/>
                    <a:pt x="0" y="384"/>
                    <a:pt x="1" y="390"/>
                  </a:cubicBezTo>
                  <a:cubicBezTo>
                    <a:pt x="5" y="411"/>
                    <a:pt x="5" y="411"/>
                    <a:pt x="5" y="411"/>
                  </a:cubicBezTo>
                  <a:cubicBezTo>
                    <a:pt x="6" y="417"/>
                    <a:pt x="10" y="421"/>
                    <a:pt x="16" y="423"/>
                  </a:cubicBezTo>
                  <a:cubicBezTo>
                    <a:pt x="52" y="435"/>
                    <a:pt x="52" y="435"/>
                    <a:pt x="52" y="435"/>
                  </a:cubicBezTo>
                  <a:cubicBezTo>
                    <a:pt x="53" y="440"/>
                    <a:pt x="53" y="440"/>
                    <a:pt x="53" y="440"/>
                  </a:cubicBezTo>
                  <a:cubicBezTo>
                    <a:pt x="53" y="441"/>
                    <a:pt x="53" y="442"/>
                    <a:pt x="54" y="443"/>
                  </a:cubicBezTo>
                  <a:cubicBezTo>
                    <a:pt x="56" y="449"/>
                    <a:pt x="56" y="449"/>
                    <a:pt x="56" y="449"/>
                  </a:cubicBezTo>
                  <a:cubicBezTo>
                    <a:pt x="34" y="478"/>
                    <a:pt x="34" y="478"/>
                    <a:pt x="34" y="478"/>
                  </a:cubicBezTo>
                  <a:cubicBezTo>
                    <a:pt x="30" y="483"/>
                    <a:pt x="30" y="490"/>
                    <a:pt x="33" y="496"/>
                  </a:cubicBezTo>
                  <a:cubicBezTo>
                    <a:pt x="43" y="514"/>
                    <a:pt x="43" y="514"/>
                    <a:pt x="43" y="514"/>
                  </a:cubicBezTo>
                  <a:cubicBezTo>
                    <a:pt x="46" y="519"/>
                    <a:pt x="52" y="522"/>
                    <a:pt x="58" y="522"/>
                  </a:cubicBezTo>
                  <a:cubicBezTo>
                    <a:pt x="94" y="521"/>
                    <a:pt x="94" y="521"/>
                    <a:pt x="94" y="521"/>
                  </a:cubicBezTo>
                  <a:cubicBezTo>
                    <a:pt x="98" y="527"/>
                    <a:pt x="98" y="527"/>
                    <a:pt x="98" y="527"/>
                  </a:cubicBezTo>
                  <a:cubicBezTo>
                    <a:pt x="98" y="528"/>
                    <a:pt x="98" y="528"/>
                    <a:pt x="99" y="529"/>
                  </a:cubicBezTo>
                  <a:cubicBezTo>
                    <a:pt x="102" y="533"/>
                    <a:pt x="102" y="533"/>
                    <a:pt x="102" y="533"/>
                  </a:cubicBezTo>
                  <a:cubicBezTo>
                    <a:pt x="91" y="568"/>
                    <a:pt x="91" y="568"/>
                    <a:pt x="91" y="568"/>
                  </a:cubicBezTo>
                  <a:cubicBezTo>
                    <a:pt x="89" y="573"/>
                    <a:pt x="90" y="580"/>
                    <a:pt x="95" y="584"/>
                  </a:cubicBezTo>
                  <a:cubicBezTo>
                    <a:pt x="110" y="600"/>
                    <a:pt x="110" y="600"/>
                    <a:pt x="110" y="600"/>
                  </a:cubicBezTo>
                  <a:cubicBezTo>
                    <a:pt x="115" y="604"/>
                    <a:pt x="121" y="605"/>
                    <a:pt x="127" y="603"/>
                  </a:cubicBezTo>
                  <a:cubicBezTo>
                    <a:pt x="162" y="592"/>
                    <a:pt x="162" y="592"/>
                    <a:pt x="162" y="592"/>
                  </a:cubicBezTo>
                  <a:cubicBezTo>
                    <a:pt x="167" y="596"/>
                    <a:pt x="167" y="596"/>
                    <a:pt x="167" y="596"/>
                  </a:cubicBezTo>
                  <a:cubicBezTo>
                    <a:pt x="167" y="596"/>
                    <a:pt x="168" y="596"/>
                    <a:pt x="168" y="596"/>
                  </a:cubicBezTo>
                  <a:cubicBezTo>
                    <a:pt x="174" y="600"/>
                    <a:pt x="174" y="600"/>
                    <a:pt x="174" y="600"/>
                  </a:cubicBezTo>
                  <a:cubicBezTo>
                    <a:pt x="173" y="635"/>
                    <a:pt x="173" y="635"/>
                    <a:pt x="173" y="635"/>
                  </a:cubicBezTo>
                  <a:cubicBezTo>
                    <a:pt x="172" y="641"/>
                    <a:pt x="175" y="647"/>
                    <a:pt x="180" y="650"/>
                  </a:cubicBezTo>
                  <a:cubicBezTo>
                    <a:pt x="190" y="656"/>
                    <a:pt x="190" y="656"/>
                    <a:pt x="190" y="656"/>
                  </a:cubicBezTo>
                  <a:cubicBezTo>
                    <a:pt x="191" y="656"/>
                    <a:pt x="192" y="657"/>
                    <a:pt x="193" y="657"/>
                  </a:cubicBezTo>
                  <a:cubicBezTo>
                    <a:pt x="202" y="661"/>
                    <a:pt x="202" y="661"/>
                    <a:pt x="202" y="661"/>
                  </a:cubicBezTo>
                  <a:cubicBezTo>
                    <a:pt x="207" y="663"/>
                    <a:pt x="213" y="663"/>
                    <a:pt x="218" y="659"/>
                  </a:cubicBezTo>
                  <a:cubicBezTo>
                    <a:pt x="245" y="638"/>
                    <a:pt x="245" y="638"/>
                    <a:pt x="245" y="638"/>
                  </a:cubicBezTo>
                  <a:cubicBezTo>
                    <a:pt x="246" y="639"/>
                    <a:pt x="247" y="639"/>
                    <a:pt x="248" y="639"/>
                  </a:cubicBezTo>
                  <a:cubicBezTo>
                    <a:pt x="254" y="640"/>
                    <a:pt x="254" y="640"/>
                    <a:pt x="254" y="640"/>
                  </a:cubicBezTo>
                  <a:cubicBezTo>
                    <a:pt x="261" y="642"/>
                    <a:pt x="261" y="642"/>
                    <a:pt x="261" y="642"/>
                  </a:cubicBezTo>
                  <a:cubicBezTo>
                    <a:pt x="273" y="677"/>
                    <a:pt x="273" y="677"/>
                    <a:pt x="273" y="677"/>
                  </a:cubicBezTo>
                  <a:cubicBezTo>
                    <a:pt x="275" y="683"/>
                    <a:pt x="280" y="687"/>
                    <a:pt x="286" y="688"/>
                  </a:cubicBezTo>
                  <a:cubicBezTo>
                    <a:pt x="307" y="691"/>
                    <a:pt x="307" y="691"/>
                    <a:pt x="307" y="691"/>
                  </a:cubicBezTo>
                  <a:cubicBezTo>
                    <a:pt x="312" y="691"/>
                    <a:pt x="318" y="689"/>
                    <a:pt x="322" y="684"/>
                  </a:cubicBezTo>
                  <a:cubicBezTo>
                    <a:pt x="343" y="655"/>
                    <a:pt x="343" y="655"/>
                    <a:pt x="343" y="655"/>
                  </a:cubicBezTo>
                  <a:cubicBezTo>
                    <a:pt x="358" y="655"/>
                    <a:pt x="358" y="655"/>
                    <a:pt x="358" y="655"/>
                  </a:cubicBezTo>
                  <a:cubicBezTo>
                    <a:pt x="379" y="684"/>
                    <a:pt x="379" y="684"/>
                    <a:pt x="379" y="684"/>
                  </a:cubicBezTo>
                  <a:cubicBezTo>
                    <a:pt x="382" y="688"/>
                    <a:pt x="387" y="691"/>
                    <a:pt x="392" y="691"/>
                  </a:cubicBezTo>
                  <a:cubicBezTo>
                    <a:pt x="393" y="691"/>
                    <a:pt x="394" y="691"/>
                    <a:pt x="394" y="691"/>
                  </a:cubicBezTo>
                  <a:cubicBezTo>
                    <a:pt x="415" y="688"/>
                    <a:pt x="415" y="688"/>
                    <a:pt x="415" y="688"/>
                  </a:cubicBezTo>
                  <a:cubicBezTo>
                    <a:pt x="421" y="687"/>
                    <a:pt x="426" y="683"/>
                    <a:pt x="428" y="677"/>
                  </a:cubicBezTo>
                  <a:cubicBezTo>
                    <a:pt x="440" y="642"/>
                    <a:pt x="440" y="642"/>
                    <a:pt x="440" y="642"/>
                  </a:cubicBezTo>
                  <a:cubicBezTo>
                    <a:pt x="448" y="640"/>
                    <a:pt x="448" y="640"/>
                    <a:pt x="448" y="640"/>
                  </a:cubicBezTo>
                  <a:cubicBezTo>
                    <a:pt x="448" y="640"/>
                    <a:pt x="448" y="639"/>
                    <a:pt x="448" y="639"/>
                  </a:cubicBezTo>
                  <a:cubicBezTo>
                    <a:pt x="454" y="637"/>
                    <a:pt x="454" y="637"/>
                    <a:pt x="454" y="637"/>
                  </a:cubicBezTo>
                  <a:cubicBezTo>
                    <a:pt x="483" y="659"/>
                    <a:pt x="483" y="659"/>
                    <a:pt x="483" y="659"/>
                  </a:cubicBezTo>
                  <a:cubicBezTo>
                    <a:pt x="488" y="663"/>
                    <a:pt x="494" y="663"/>
                    <a:pt x="499" y="661"/>
                  </a:cubicBezTo>
                  <a:cubicBezTo>
                    <a:pt x="508" y="657"/>
                    <a:pt x="508" y="657"/>
                    <a:pt x="508" y="657"/>
                  </a:cubicBezTo>
                  <a:cubicBezTo>
                    <a:pt x="509" y="657"/>
                    <a:pt x="510" y="656"/>
                    <a:pt x="510" y="656"/>
                  </a:cubicBezTo>
                  <a:cubicBezTo>
                    <a:pt x="521" y="650"/>
                    <a:pt x="521" y="650"/>
                    <a:pt x="521" y="650"/>
                  </a:cubicBezTo>
                  <a:cubicBezTo>
                    <a:pt x="525" y="647"/>
                    <a:pt x="528" y="641"/>
                    <a:pt x="528" y="636"/>
                  </a:cubicBezTo>
                  <a:cubicBezTo>
                    <a:pt x="528" y="600"/>
                    <a:pt x="528" y="600"/>
                    <a:pt x="528" y="600"/>
                  </a:cubicBezTo>
                  <a:cubicBezTo>
                    <a:pt x="533" y="596"/>
                    <a:pt x="533" y="596"/>
                    <a:pt x="533" y="596"/>
                  </a:cubicBezTo>
                  <a:cubicBezTo>
                    <a:pt x="539" y="592"/>
                    <a:pt x="539" y="592"/>
                    <a:pt x="539" y="592"/>
                  </a:cubicBezTo>
                  <a:cubicBezTo>
                    <a:pt x="574" y="603"/>
                    <a:pt x="574" y="603"/>
                    <a:pt x="574" y="603"/>
                  </a:cubicBezTo>
                  <a:cubicBezTo>
                    <a:pt x="580" y="605"/>
                    <a:pt x="586" y="604"/>
                    <a:pt x="591" y="600"/>
                  </a:cubicBezTo>
                  <a:cubicBezTo>
                    <a:pt x="606" y="584"/>
                    <a:pt x="606" y="584"/>
                    <a:pt x="606" y="584"/>
                  </a:cubicBezTo>
                  <a:cubicBezTo>
                    <a:pt x="610" y="580"/>
                    <a:pt x="612" y="573"/>
                    <a:pt x="610" y="568"/>
                  </a:cubicBezTo>
                  <a:cubicBezTo>
                    <a:pt x="599" y="533"/>
                    <a:pt x="599" y="533"/>
                    <a:pt x="599" y="533"/>
                  </a:cubicBezTo>
                  <a:cubicBezTo>
                    <a:pt x="602" y="528"/>
                    <a:pt x="602" y="528"/>
                    <a:pt x="602" y="528"/>
                  </a:cubicBezTo>
                  <a:cubicBezTo>
                    <a:pt x="603" y="528"/>
                    <a:pt x="603" y="528"/>
                    <a:pt x="603" y="527"/>
                  </a:cubicBezTo>
                  <a:cubicBezTo>
                    <a:pt x="607" y="521"/>
                    <a:pt x="607" y="521"/>
                    <a:pt x="607" y="521"/>
                  </a:cubicBezTo>
                  <a:cubicBezTo>
                    <a:pt x="643" y="522"/>
                    <a:pt x="643" y="522"/>
                    <a:pt x="643" y="522"/>
                  </a:cubicBezTo>
                  <a:cubicBezTo>
                    <a:pt x="649" y="522"/>
                    <a:pt x="655" y="519"/>
                    <a:pt x="658" y="514"/>
                  </a:cubicBezTo>
                  <a:cubicBezTo>
                    <a:pt x="668" y="496"/>
                    <a:pt x="668" y="496"/>
                    <a:pt x="668" y="496"/>
                  </a:cubicBezTo>
                  <a:cubicBezTo>
                    <a:pt x="671" y="490"/>
                    <a:pt x="671" y="483"/>
                    <a:pt x="667" y="478"/>
                  </a:cubicBezTo>
                  <a:cubicBezTo>
                    <a:pt x="645" y="449"/>
                    <a:pt x="645" y="449"/>
                    <a:pt x="645" y="449"/>
                  </a:cubicBezTo>
                  <a:cubicBezTo>
                    <a:pt x="647" y="443"/>
                    <a:pt x="647" y="443"/>
                    <a:pt x="647" y="443"/>
                  </a:cubicBezTo>
                  <a:cubicBezTo>
                    <a:pt x="647" y="443"/>
                    <a:pt x="648" y="442"/>
                    <a:pt x="648" y="441"/>
                  </a:cubicBezTo>
                  <a:cubicBezTo>
                    <a:pt x="649" y="435"/>
                    <a:pt x="649" y="435"/>
                    <a:pt x="649" y="435"/>
                  </a:cubicBezTo>
                  <a:cubicBezTo>
                    <a:pt x="685" y="423"/>
                    <a:pt x="685" y="423"/>
                    <a:pt x="685" y="423"/>
                  </a:cubicBezTo>
                  <a:cubicBezTo>
                    <a:pt x="691" y="421"/>
                    <a:pt x="695" y="416"/>
                    <a:pt x="696" y="410"/>
                  </a:cubicBezTo>
                  <a:cubicBezTo>
                    <a:pt x="698" y="389"/>
                    <a:pt x="698" y="389"/>
                    <a:pt x="698" y="389"/>
                  </a:cubicBezTo>
                  <a:cubicBezTo>
                    <a:pt x="699" y="383"/>
                    <a:pt x="697" y="377"/>
                    <a:pt x="692" y="37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CH" sz="1600" dirty="0"/>
            </a:p>
          </p:txBody>
        </p:sp>
        <p:sp>
          <p:nvSpPr>
            <p:cNvPr id="13" name="Oval 15">
              <a:extLst>
                <a:ext uri="{FF2B5EF4-FFF2-40B4-BE49-F238E27FC236}">
                  <a16:creationId xmlns:a16="http://schemas.microsoft.com/office/drawing/2014/main" id="{2E884F2F-C0B4-42BF-BCFD-63E4A177D04B}"/>
                </a:ext>
              </a:extLst>
            </p:cNvPr>
            <p:cNvSpPr/>
            <p:nvPr/>
          </p:nvSpPr>
          <p:spPr>
            <a:xfrm>
              <a:off x="11696315" y="6362315"/>
              <a:ext cx="359032" cy="35903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</p:grpSp>
    </p:spTree>
    <p:extLst>
      <p:ext uri="{BB962C8B-B14F-4D97-AF65-F5344CB8AC3E}">
        <p14:creationId xmlns:p14="http://schemas.microsoft.com/office/powerpoint/2010/main" val="15076392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5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orizontal pictures 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ußzeilenplatzhalter 6"/>
          <p:cNvSpPr>
            <a:spLocks noGrp="1"/>
          </p:cNvSpPr>
          <p:nvPr>
            <p:ph type="ftr" sz="quarter" idx="24"/>
          </p:nvPr>
        </p:nvSpPr>
        <p:spPr bwMode="gray"/>
        <p:txBody>
          <a:bodyPr/>
          <a:lstStyle/>
          <a:p>
            <a:r>
              <a:rPr lang="en-US"/>
              <a:t>Title of presentation | DD.MM.YYYY</a:t>
            </a:r>
            <a:endParaRPr lang="en-US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25"/>
          </p:nvPr>
        </p:nvSpPr>
        <p:spPr bwMode="gray"/>
        <p:txBody>
          <a:bodyPr/>
          <a:lstStyle/>
          <a:p>
            <a:fld id="{215533F2-C0B5-4315-85D8-5EA869B6EE8B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11" name="MIO_VALID_LAYOUT" hidden="1"/>
          <p:cNvSpPr/>
          <p:nvPr userDrawn="1"/>
        </p:nvSpPr>
        <p:spPr bwMode="gray">
          <a:xfrm>
            <a:off x="11856640" y="6597171"/>
            <a:ext cx="335360" cy="26082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de-DE" sz="1600" kern="0" dirty="0" err="1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19" name="Title 4"/>
          <p:cNvSpPr>
            <a:spLocks noGrp="1"/>
          </p:cNvSpPr>
          <p:nvPr>
            <p:ph type="title" hasCustomPrompt="1"/>
          </p:nvPr>
        </p:nvSpPr>
        <p:spPr>
          <a:xfrm>
            <a:off x="623888" y="730800"/>
            <a:ext cx="10944225" cy="325952"/>
          </a:xfrm>
        </p:spPr>
        <p:txBody>
          <a:bodyPr/>
          <a:lstStyle/>
          <a:p>
            <a:r>
              <a:rPr lang="en-GB" dirty="0"/>
              <a:t>Insert slide title here (max. 2 lines | max. 1 line with Action Title)</a:t>
            </a:r>
            <a:endParaRPr lang="de-DE" dirty="0"/>
          </a:p>
        </p:txBody>
      </p:sp>
      <p:sp>
        <p:nvSpPr>
          <p:cNvPr id="22" name="Textplatzhalter 28"/>
          <p:cNvSpPr>
            <a:spLocks noGrp="1"/>
          </p:cNvSpPr>
          <p:nvPr>
            <p:ph type="body" sz="quarter" idx="18"/>
          </p:nvPr>
        </p:nvSpPr>
        <p:spPr>
          <a:xfrm>
            <a:off x="3432174" y="3788561"/>
            <a:ext cx="2519363" cy="230426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3" name="Textplatzhalter 28"/>
          <p:cNvSpPr>
            <a:spLocks noGrp="1"/>
          </p:cNvSpPr>
          <p:nvPr>
            <p:ph type="body" sz="quarter" idx="19"/>
          </p:nvPr>
        </p:nvSpPr>
        <p:spPr>
          <a:xfrm>
            <a:off x="6240463" y="3788561"/>
            <a:ext cx="2519361" cy="230426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4" name="Textplatzhalter 28"/>
          <p:cNvSpPr>
            <a:spLocks noGrp="1"/>
          </p:cNvSpPr>
          <p:nvPr>
            <p:ph type="body" sz="quarter" idx="28"/>
          </p:nvPr>
        </p:nvSpPr>
        <p:spPr>
          <a:xfrm>
            <a:off x="9048750" y="3788561"/>
            <a:ext cx="2510452" cy="230426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32" name="Bildplatzhalter 31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6384032" y="1639749"/>
            <a:ext cx="2270346" cy="1865150"/>
          </a:xfrm>
          <a:custGeom>
            <a:avLst/>
            <a:gdLst>
              <a:gd name="connsiteX0" fmla="*/ 175846 w 2270346"/>
              <a:gd name="connsiteY0" fmla="*/ 0 h 1865150"/>
              <a:gd name="connsiteX1" fmla="*/ 1742993 w 2270346"/>
              <a:gd name="connsiteY1" fmla="*/ 0 h 1865150"/>
              <a:gd name="connsiteX2" fmla="*/ 1974877 w 2270346"/>
              <a:gd name="connsiteY2" fmla="*/ 166346 h 1865150"/>
              <a:gd name="connsiteX3" fmla="*/ 2228017 w 2270346"/>
              <a:gd name="connsiteY3" fmla="*/ 916839 h 1865150"/>
              <a:gd name="connsiteX4" fmla="*/ 2187437 w 2270346"/>
              <a:gd name="connsiteY4" fmla="*/ 1253400 h 1865150"/>
              <a:gd name="connsiteX5" fmla="*/ 1688887 w 2270346"/>
              <a:gd name="connsiteY5" fmla="*/ 1597699 h 1865150"/>
              <a:gd name="connsiteX6" fmla="*/ 1447341 w 2270346"/>
              <a:gd name="connsiteY6" fmla="*/ 1765979 h 1865150"/>
              <a:gd name="connsiteX7" fmla="*/ 1126569 w 2270346"/>
              <a:gd name="connsiteY7" fmla="*/ 1864627 h 1865150"/>
              <a:gd name="connsiteX8" fmla="*/ 823188 w 2270346"/>
              <a:gd name="connsiteY8" fmla="*/ 1864627 h 1865150"/>
              <a:gd name="connsiteX9" fmla="*/ 262802 w 2270346"/>
              <a:gd name="connsiteY9" fmla="*/ 1864627 h 1865150"/>
              <a:gd name="connsiteX10" fmla="*/ 0 w 2270346"/>
              <a:gd name="connsiteY10" fmla="*/ 1642187 h 1865150"/>
              <a:gd name="connsiteX11" fmla="*/ 0 w 2270346"/>
              <a:gd name="connsiteY11" fmla="*/ 1114134 h 1865150"/>
              <a:gd name="connsiteX12" fmla="*/ 0 w 2270346"/>
              <a:gd name="connsiteY12" fmla="*/ 176018 h 1865150"/>
              <a:gd name="connsiteX13" fmla="*/ 175846 w 2270346"/>
              <a:gd name="connsiteY13" fmla="*/ 0 h 1865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270346" h="1865150">
                <a:moveTo>
                  <a:pt x="175846" y="0"/>
                </a:moveTo>
                <a:cubicBezTo>
                  <a:pt x="175846" y="0"/>
                  <a:pt x="175846" y="0"/>
                  <a:pt x="1742993" y="0"/>
                </a:cubicBezTo>
                <a:cubicBezTo>
                  <a:pt x="1839612" y="0"/>
                  <a:pt x="1943959" y="75436"/>
                  <a:pt x="1974877" y="166346"/>
                </a:cubicBezTo>
                <a:cubicBezTo>
                  <a:pt x="1974877" y="166346"/>
                  <a:pt x="1974877" y="166346"/>
                  <a:pt x="2228017" y="916839"/>
                </a:cubicBezTo>
                <a:cubicBezTo>
                  <a:pt x="2239610" y="951656"/>
                  <a:pt x="2338161" y="1154754"/>
                  <a:pt x="2187437" y="1253400"/>
                </a:cubicBezTo>
                <a:cubicBezTo>
                  <a:pt x="2187437" y="1253400"/>
                  <a:pt x="2187437" y="1253400"/>
                  <a:pt x="1688887" y="1597699"/>
                </a:cubicBezTo>
                <a:cubicBezTo>
                  <a:pt x="1688887" y="1597699"/>
                  <a:pt x="1688887" y="1597699"/>
                  <a:pt x="1447341" y="1765979"/>
                </a:cubicBezTo>
                <a:cubicBezTo>
                  <a:pt x="1366183" y="1820139"/>
                  <a:pt x="1223188" y="1864627"/>
                  <a:pt x="1126569" y="1864627"/>
                </a:cubicBezTo>
                <a:cubicBezTo>
                  <a:pt x="1126569" y="1864627"/>
                  <a:pt x="1126569" y="1864627"/>
                  <a:pt x="823188" y="1864627"/>
                </a:cubicBezTo>
                <a:cubicBezTo>
                  <a:pt x="823188" y="1864627"/>
                  <a:pt x="823188" y="1864627"/>
                  <a:pt x="262802" y="1864627"/>
                </a:cubicBezTo>
                <a:cubicBezTo>
                  <a:pt x="90822" y="1866561"/>
                  <a:pt x="1932" y="1874298"/>
                  <a:pt x="0" y="1642187"/>
                </a:cubicBezTo>
                <a:cubicBezTo>
                  <a:pt x="0" y="1642187"/>
                  <a:pt x="0" y="1642187"/>
                  <a:pt x="0" y="1114134"/>
                </a:cubicBezTo>
                <a:cubicBezTo>
                  <a:pt x="0" y="1114134"/>
                  <a:pt x="0" y="1114134"/>
                  <a:pt x="0" y="176018"/>
                </a:cubicBezTo>
                <a:cubicBezTo>
                  <a:pt x="0" y="79305"/>
                  <a:pt x="79228" y="0"/>
                  <a:pt x="175846" y="0"/>
                </a:cubicBezTo>
                <a:close/>
              </a:path>
            </a:pathLst>
          </a:custGeom>
          <a:solidFill>
            <a:schemeClr val="accent4"/>
          </a:solidFill>
        </p:spPr>
        <p:txBody>
          <a:bodyPr wrap="square">
            <a:noAutofit/>
          </a:bodyPr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30" name="Bildplatzhalter 29"/>
          <p:cNvSpPr>
            <a:spLocks noGrp="1"/>
          </p:cNvSpPr>
          <p:nvPr>
            <p:ph type="pic" sz="quarter" idx="30" hasCustomPrompt="1"/>
          </p:nvPr>
        </p:nvSpPr>
        <p:spPr bwMode="gray">
          <a:xfrm rot="21194073">
            <a:off x="696242" y="1771209"/>
            <a:ext cx="2519999" cy="1730663"/>
          </a:xfrm>
          <a:custGeom>
            <a:avLst/>
            <a:gdLst>
              <a:gd name="connsiteX0" fmla="*/ 114792 w 2519999"/>
              <a:gd name="connsiteY0" fmla="*/ 944 h 1730663"/>
              <a:gd name="connsiteX1" fmla="*/ 1478816 w 2519999"/>
              <a:gd name="connsiteY1" fmla="*/ 189953 h 1730663"/>
              <a:gd name="connsiteX2" fmla="*/ 1561954 w 2519999"/>
              <a:gd name="connsiteY2" fmla="*/ 201238 h 1730663"/>
              <a:gd name="connsiteX3" fmla="*/ 1948051 w 2519999"/>
              <a:gd name="connsiteY3" fmla="*/ 273174 h 1730663"/>
              <a:gd name="connsiteX4" fmla="*/ 1957915 w 2519999"/>
              <a:gd name="connsiteY4" fmla="*/ 275996 h 1730663"/>
              <a:gd name="connsiteX5" fmla="*/ 2060780 w 2519999"/>
              <a:gd name="connsiteY5" fmla="*/ 299974 h 1730663"/>
              <a:gd name="connsiteX6" fmla="*/ 2411650 w 2519999"/>
              <a:gd name="connsiteY6" fmla="*/ 383195 h 1730663"/>
              <a:gd name="connsiteX7" fmla="*/ 2518742 w 2519999"/>
              <a:gd name="connsiteY7" fmla="*/ 539763 h 1730663"/>
              <a:gd name="connsiteX8" fmla="*/ 2406013 w 2519999"/>
              <a:gd name="connsiteY8" fmla="*/ 1391720 h 1730663"/>
              <a:gd name="connsiteX9" fmla="*/ 2262283 w 2519999"/>
              <a:gd name="connsiteY9" fmla="*/ 1531361 h 1730663"/>
              <a:gd name="connsiteX10" fmla="*/ 1873368 w 2519999"/>
              <a:gd name="connsiteY10" fmla="*/ 1568035 h 1730663"/>
              <a:gd name="connsiteX11" fmla="*/ 861623 w 2519999"/>
              <a:gd name="connsiteY11" fmla="*/ 1666772 h 1730663"/>
              <a:gd name="connsiteX12" fmla="*/ 824986 w 2519999"/>
              <a:gd name="connsiteY12" fmla="*/ 1676645 h 1730663"/>
              <a:gd name="connsiteX13" fmla="*/ 367024 w 2519999"/>
              <a:gd name="connsiteY13" fmla="*/ 1723192 h 1730663"/>
              <a:gd name="connsiteX14" fmla="*/ 359978 w 2519999"/>
              <a:gd name="connsiteY14" fmla="*/ 1724604 h 1730663"/>
              <a:gd name="connsiteX15" fmla="*/ 295159 w 2519999"/>
              <a:gd name="connsiteY15" fmla="*/ 1730246 h 1730663"/>
              <a:gd name="connsiteX16" fmla="*/ 155656 w 2519999"/>
              <a:gd name="connsiteY16" fmla="*/ 1613172 h 1730663"/>
              <a:gd name="connsiteX17" fmla="*/ 653 w 2519999"/>
              <a:gd name="connsiteY17" fmla="*/ 110964 h 1730663"/>
              <a:gd name="connsiteX18" fmla="*/ 114792 w 2519999"/>
              <a:gd name="connsiteY18" fmla="*/ 944 h 17306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2519999" h="1730663">
                <a:moveTo>
                  <a:pt x="114792" y="944"/>
                </a:moveTo>
                <a:cubicBezTo>
                  <a:pt x="114792" y="944"/>
                  <a:pt x="114792" y="944"/>
                  <a:pt x="1478816" y="189953"/>
                </a:cubicBezTo>
                <a:cubicBezTo>
                  <a:pt x="1478816" y="189953"/>
                  <a:pt x="1478816" y="189953"/>
                  <a:pt x="1561954" y="201238"/>
                </a:cubicBezTo>
                <a:cubicBezTo>
                  <a:pt x="1726820" y="223807"/>
                  <a:pt x="1838140" y="247785"/>
                  <a:pt x="1948051" y="273174"/>
                </a:cubicBezTo>
                <a:cubicBezTo>
                  <a:pt x="1950870" y="274585"/>
                  <a:pt x="1955096" y="274585"/>
                  <a:pt x="1957915" y="275996"/>
                </a:cubicBezTo>
                <a:cubicBezTo>
                  <a:pt x="1957915" y="275996"/>
                  <a:pt x="1957915" y="275996"/>
                  <a:pt x="2060780" y="299974"/>
                </a:cubicBezTo>
                <a:cubicBezTo>
                  <a:pt x="2060780" y="299974"/>
                  <a:pt x="2060780" y="299974"/>
                  <a:pt x="2411650" y="383195"/>
                </a:cubicBezTo>
                <a:cubicBezTo>
                  <a:pt x="2479287" y="400122"/>
                  <a:pt x="2528606" y="469237"/>
                  <a:pt x="2518742" y="539763"/>
                </a:cubicBezTo>
                <a:cubicBezTo>
                  <a:pt x="2518742" y="539763"/>
                  <a:pt x="2518742" y="539763"/>
                  <a:pt x="2406013" y="1391720"/>
                </a:cubicBezTo>
                <a:cubicBezTo>
                  <a:pt x="2396149" y="1460835"/>
                  <a:pt x="2331330" y="1524309"/>
                  <a:pt x="2262283" y="1531361"/>
                </a:cubicBezTo>
                <a:cubicBezTo>
                  <a:pt x="2262283" y="1531361"/>
                  <a:pt x="2262283" y="1531361"/>
                  <a:pt x="1873368" y="1568035"/>
                </a:cubicBezTo>
                <a:cubicBezTo>
                  <a:pt x="1873368" y="1568035"/>
                  <a:pt x="1873368" y="1568035"/>
                  <a:pt x="861623" y="1666772"/>
                </a:cubicBezTo>
                <a:cubicBezTo>
                  <a:pt x="847532" y="1668183"/>
                  <a:pt x="834850" y="1671003"/>
                  <a:pt x="824986" y="1676645"/>
                </a:cubicBezTo>
                <a:cubicBezTo>
                  <a:pt x="824986" y="1676645"/>
                  <a:pt x="824986" y="1676645"/>
                  <a:pt x="367024" y="1723192"/>
                </a:cubicBezTo>
                <a:cubicBezTo>
                  <a:pt x="367024" y="1723192"/>
                  <a:pt x="367024" y="1723192"/>
                  <a:pt x="359978" y="1724604"/>
                </a:cubicBezTo>
                <a:cubicBezTo>
                  <a:pt x="359978" y="1724604"/>
                  <a:pt x="359978" y="1724604"/>
                  <a:pt x="295159" y="1730246"/>
                </a:cubicBezTo>
                <a:cubicBezTo>
                  <a:pt x="226112" y="1735887"/>
                  <a:pt x="162702" y="1683698"/>
                  <a:pt x="155656" y="1613172"/>
                </a:cubicBezTo>
                <a:cubicBezTo>
                  <a:pt x="155656" y="1613172"/>
                  <a:pt x="155656" y="1613172"/>
                  <a:pt x="653" y="110964"/>
                </a:cubicBezTo>
                <a:cubicBezTo>
                  <a:pt x="-6392" y="41849"/>
                  <a:pt x="44336" y="-7520"/>
                  <a:pt x="114792" y="944"/>
                </a:cubicBezTo>
                <a:close/>
              </a:path>
            </a:pathLst>
          </a:custGeom>
          <a:solidFill>
            <a:schemeClr val="accent4"/>
          </a:solidFill>
        </p:spPr>
        <p:txBody>
          <a:bodyPr wrap="square">
            <a:noAutofit/>
          </a:bodyPr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33" name="Bildplatzhalter 32"/>
          <p:cNvSpPr>
            <a:spLocks noGrp="1"/>
          </p:cNvSpPr>
          <p:nvPr>
            <p:ph type="pic" sz="quarter" idx="31" hasCustomPrompt="1"/>
          </p:nvPr>
        </p:nvSpPr>
        <p:spPr bwMode="gray">
          <a:xfrm>
            <a:off x="9120336" y="1555840"/>
            <a:ext cx="2375766" cy="2031691"/>
          </a:xfrm>
          <a:custGeom>
            <a:avLst/>
            <a:gdLst>
              <a:gd name="connsiteX0" fmla="*/ 822010 w 2375766"/>
              <a:gd name="connsiteY0" fmla="*/ 0 h 2031691"/>
              <a:gd name="connsiteX1" fmla="*/ 2071697 w 2375766"/>
              <a:gd name="connsiteY1" fmla="*/ 0 h 2031691"/>
              <a:gd name="connsiteX2" fmla="*/ 2375766 w 2375766"/>
              <a:gd name="connsiteY2" fmla="*/ 275344 h 2031691"/>
              <a:gd name="connsiteX3" fmla="*/ 2375766 w 2375766"/>
              <a:gd name="connsiteY3" fmla="*/ 1785202 h 2031691"/>
              <a:gd name="connsiteX4" fmla="*/ 2075039 w 2375766"/>
              <a:gd name="connsiteY4" fmla="*/ 2030289 h 2031691"/>
              <a:gd name="connsiteX5" fmla="*/ 1720850 w 2375766"/>
              <a:gd name="connsiteY5" fmla="*/ 1993979 h 2031691"/>
              <a:gd name="connsiteX6" fmla="*/ 888838 w 2375766"/>
              <a:gd name="connsiteY6" fmla="*/ 1912283 h 2031691"/>
              <a:gd name="connsiteX7" fmla="*/ 374261 w 2375766"/>
              <a:gd name="connsiteY7" fmla="*/ 1709558 h 2031691"/>
              <a:gd name="connsiteX8" fmla="*/ 24 w 2375766"/>
              <a:gd name="connsiteY8" fmla="*/ 904703 h 2031691"/>
              <a:gd name="connsiteX9" fmla="*/ 384285 w 2375766"/>
              <a:gd name="connsiteY9" fmla="*/ 248113 h 2031691"/>
              <a:gd name="connsiteX10" fmla="*/ 822010 w 2375766"/>
              <a:gd name="connsiteY10" fmla="*/ 0 h 2031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375766" h="2031691">
                <a:moveTo>
                  <a:pt x="822010" y="0"/>
                </a:moveTo>
                <a:lnTo>
                  <a:pt x="2071697" y="0"/>
                </a:lnTo>
                <a:cubicBezTo>
                  <a:pt x="2238768" y="0"/>
                  <a:pt x="2375766" y="124056"/>
                  <a:pt x="2375766" y="275344"/>
                </a:cubicBezTo>
                <a:lnTo>
                  <a:pt x="2375766" y="1785202"/>
                </a:lnTo>
                <a:cubicBezTo>
                  <a:pt x="2375766" y="1936490"/>
                  <a:pt x="2242109" y="2045417"/>
                  <a:pt x="2075039" y="2030289"/>
                </a:cubicBezTo>
                <a:lnTo>
                  <a:pt x="1720850" y="1993979"/>
                </a:lnTo>
                <a:lnTo>
                  <a:pt x="888838" y="1912283"/>
                </a:lnTo>
                <a:cubicBezTo>
                  <a:pt x="862107" y="1909258"/>
                  <a:pt x="481187" y="1918334"/>
                  <a:pt x="374261" y="1709558"/>
                </a:cubicBezTo>
                <a:cubicBezTo>
                  <a:pt x="80444" y="1265745"/>
                  <a:pt x="-1648" y="1196257"/>
                  <a:pt x="24" y="904703"/>
                </a:cubicBezTo>
                <a:cubicBezTo>
                  <a:pt x="118468" y="667614"/>
                  <a:pt x="220800" y="542835"/>
                  <a:pt x="384285" y="248113"/>
                </a:cubicBezTo>
                <a:cubicBezTo>
                  <a:pt x="461138" y="111953"/>
                  <a:pt x="654939" y="0"/>
                  <a:pt x="822010" y="0"/>
                </a:cubicBezTo>
                <a:close/>
              </a:path>
            </a:pathLst>
          </a:custGeom>
          <a:solidFill>
            <a:schemeClr val="accent4"/>
          </a:solidFill>
        </p:spPr>
        <p:txBody>
          <a:bodyPr wrap="square">
            <a:noAutofit/>
          </a:bodyPr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31" name="Bildplatzhalter 30"/>
          <p:cNvSpPr>
            <a:spLocks noGrp="1"/>
          </p:cNvSpPr>
          <p:nvPr>
            <p:ph type="pic" sz="quarter" idx="32" hasCustomPrompt="1"/>
          </p:nvPr>
        </p:nvSpPr>
        <p:spPr bwMode="gray">
          <a:xfrm>
            <a:off x="3611960" y="1499299"/>
            <a:ext cx="2124000" cy="2027575"/>
          </a:xfrm>
          <a:custGeom>
            <a:avLst/>
            <a:gdLst>
              <a:gd name="connsiteX0" fmla="*/ 1050133 w 2124000"/>
              <a:gd name="connsiteY0" fmla="*/ 61 h 2027575"/>
              <a:gd name="connsiteX1" fmla="*/ 1086851 w 2124000"/>
              <a:gd name="connsiteY1" fmla="*/ 11897 h 2027575"/>
              <a:gd name="connsiteX2" fmla="*/ 1996560 w 2124000"/>
              <a:gd name="connsiteY2" fmla="*/ 307919 h 2027575"/>
              <a:gd name="connsiteX3" fmla="*/ 2124000 w 2124000"/>
              <a:gd name="connsiteY3" fmla="*/ 479450 h 2027575"/>
              <a:gd name="connsiteX4" fmla="*/ 2124000 w 2124000"/>
              <a:gd name="connsiteY4" fmla="*/ 1915563 h 2027575"/>
              <a:gd name="connsiteX5" fmla="*/ 1993587 w 2124000"/>
              <a:gd name="connsiteY5" fmla="*/ 2025456 h 2027575"/>
              <a:gd name="connsiteX6" fmla="*/ 131901 w 2124000"/>
              <a:gd name="connsiteY6" fmla="*/ 1708955 h 2027575"/>
              <a:gd name="connsiteX7" fmla="*/ 0 w 2124000"/>
              <a:gd name="connsiteY7" fmla="*/ 1553646 h 2027575"/>
              <a:gd name="connsiteX8" fmla="*/ 0 w 2124000"/>
              <a:gd name="connsiteY8" fmla="*/ 752155 h 2027575"/>
              <a:gd name="connsiteX9" fmla="*/ 114271 w 2124000"/>
              <a:gd name="connsiteY9" fmla="*/ 551225 h 2027575"/>
              <a:gd name="connsiteX10" fmla="*/ 563922 w 2124000"/>
              <a:gd name="connsiteY10" fmla="*/ 280143 h 2027575"/>
              <a:gd name="connsiteX11" fmla="*/ 830485 w 2124000"/>
              <a:gd name="connsiteY11" fmla="*/ 120371 h 2027575"/>
              <a:gd name="connsiteX12" fmla="*/ 845140 w 2124000"/>
              <a:gd name="connsiteY12" fmla="*/ 110234 h 2027575"/>
              <a:gd name="connsiteX13" fmla="*/ 1012299 w 2124000"/>
              <a:gd name="connsiteY13" fmla="*/ 9059 h 2027575"/>
              <a:gd name="connsiteX14" fmla="*/ 1050133 w 2124000"/>
              <a:gd name="connsiteY14" fmla="*/ 61 h 2027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124000" h="2027575">
                <a:moveTo>
                  <a:pt x="1050133" y="61"/>
                </a:moveTo>
                <a:cubicBezTo>
                  <a:pt x="1063115" y="594"/>
                  <a:pt x="1075913" y="4597"/>
                  <a:pt x="1086851" y="11897"/>
                </a:cubicBezTo>
                <a:lnTo>
                  <a:pt x="1996560" y="307919"/>
                </a:lnTo>
                <a:cubicBezTo>
                  <a:pt x="2066865" y="328397"/>
                  <a:pt x="2124000" y="406256"/>
                  <a:pt x="2124000" y="479450"/>
                </a:cubicBezTo>
                <a:lnTo>
                  <a:pt x="2124000" y="1915563"/>
                </a:lnTo>
                <a:cubicBezTo>
                  <a:pt x="2124000" y="1988959"/>
                  <a:pt x="2065378" y="2038635"/>
                  <a:pt x="1993587" y="2025456"/>
                </a:cubicBezTo>
                <a:lnTo>
                  <a:pt x="131901" y="1708955"/>
                </a:lnTo>
                <a:cubicBezTo>
                  <a:pt x="60109" y="1695777"/>
                  <a:pt x="0" y="1626839"/>
                  <a:pt x="0" y="1553646"/>
                </a:cubicBezTo>
                <a:lnTo>
                  <a:pt x="0" y="752155"/>
                </a:lnTo>
                <a:cubicBezTo>
                  <a:pt x="0" y="678758"/>
                  <a:pt x="51188" y="587923"/>
                  <a:pt x="114271" y="551225"/>
                </a:cubicBezTo>
                <a:lnTo>
                  <a:pt x="563922" y="280143"/>
                </a:lnTo>
                <a:lnTo>
                  <a:pt x="830485" y="120371"/>
                </a:lnTo>
                <a:cubicBezTo>
                  <a:pt x="834945" y="117330"/>
                  <a:pt x="840892" y="114491"/>
                  <a:pt x="845140" y="110234"/>
                </a:cubicBezTo>
                <a:lnTo>
                  <a:pt x="1012299" y="9059"/>
                </a:lnTo>
                <a:cubicBezTo>
                  <a:pt x="1023982" y="2469"/>
                  <a:pt x="1037150" y="-471"/>
                  <a:pt x="1050133" y="61"/>
                </a:cubicBezTo>
                <a:close/>
              </a:path>
            </a:pathLst>
          </a:custGeom>
          <a:solidFill>
            <a:schemeClr val="accent4"/>
          </a:solidFill>
        </p:spPr>
        <p:txBody>
          <a:bodyPr wrap="square">
            <a:noAutofit/>
          </a:bodyPr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34" name="Textplatzhalter 28"/>
          <p:cNvSpPr>
            <a:spLocks noGrp="1"/>
          </p:cNvSpPr>
          <p:nvPr>
            <p:ph type="body" sz="quarter" idx="33"/>
          </p:nvPr>
        </p:nvSpPr>
        <p:spPr>
          <a:xfrm>
            <a:off x="623887" y="3788561"/>
            <a:ext cx="2519363" cy="230426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6" name="Freeform 11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" name="Freeform 12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20" name="Group 12">
            <a:extLst>
              <a:ext uri="{FF2B5EF4-FFF2-40B4-BE49-F238E27FC236}">
                <a16:creationId xmlns:a16="http://schemas.microsoft.com/office/drawing/2014/main" id="{063CEDAC-48EE-4DD0-AE57-0AAB86A3ADD9}"/>
              </a:ext>
            </a:extLst>
          </p:cNvPr>
          <p:cNvGrpSpPr/>
          <p:nvPr userDrawn="1"/>
        </p:nvGrpSpPr>
        <p:grpSpPr>
          <a:xfrm>
            <a:off x="11588238" y="6254238"/>
            <a:ext cx="575187" cy="575187"/>
            <a:chOff x="11588238" y="6254238"/>
            <a:chExt cx="575187" cy="575187"/>
          </a:xfrm>
        </p:grpSpPr>
        <p:sp>
          <p:nvSpPr>
            <p:cNvPr id="21" name="Freeform 5">
              <a:extLst>
                <a:ext uri="{FF2B5EF4-FFF2-40B4-BE49-F238E27FC236}">
                  <a16:creationId xmlns:a16="http://schemas.microsoft.com/office/drawing/2014/main" id="{A00AF9CE-57F0-462E-A2CD-8A0128BACBDB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11588238" y="6254238"/>
              <a:ext cx="575187" cy="575187"/>
            </a:xfrm>
            <a:custGeom>
              <a:avLst/>
              <a:gdLst>
                <a:gd name="T0" fmla="*/ 662 w 699"/>
                <a:gd name="T1" fmla="*/ 347 h 691"/>
                <a:gd name="T2" fmla="*/ 691 w 699"/>
                <a:gd name="T3" fmla="*/ 320 h 691"/>
                <a:gd name="T4" fmla="*/ 684 w 699"/>
                <a:gd name="T5" fmla="*/ 269 h 691"/>
                <a:gd name="T6" fmla="*/ 645 w 699"/>
                <a:gd name="T7" fmla="*/ 243 h 691"/>
                <a:gd name="T8" fmla="*/ 663 w 699"/>
                <a:gd name="T9" fmla="*/ 188 h 691"/>
                <a:gd name="T10" fmla="*/ 644 w 699"/>
                <a:gd name="T11" fmla="*/ 171 h 691"/>
                <a:gd name="T12" fmla="*/ 602 w 699"/>
                <a:gd name="T13" fmla="*/ 165 h 691"/>
                <a:gd name="T14" fmla="*/ 606 w 699"/>
                <a:gd name="T15" fmla="*/ 109 h 691"/>
                <a:gd name="T16" fmla="*/ 540 w 699"/>
                <a:gd name="T17" fmla="*/ 101 h 691"/>
                <a:gd name="T18" fmla="*/ 528 w 699"/>
                <a:gd name="T19" fmla="*/ 93 h 691"/>
                <a:gd name="T20" fmla="*/ 509 w 699"/>
                <a:gd name="T21" fmla="*/ 37 h 691"/>
                <a:gd name="T22" fmla="*/ 484 w 699"/>
                <a:gd name="T23" fmla="*/ 34 h 691"/>
                <a:gd name="T24" fmla="*/ 447 w 699"/>
                <a:gd name="T25" fmla="*/ 52 h 691"/>
                <a:gd name="T26" fmla="*/ 417 w 699"/>
                <a:gd name="T27" fmla="*/ 6 h 691"/>
                <a:gd name="T28" fmla="*/ 394 w 699"/>
                <a:gd name="T29" fmla="*/ 1 h 691"/>
                <a:gd name="T30" fmla="*/ 352 w 699"/>
                <a:gd name="T31" fmla="*/ 37 h 691"/>
                <a:gd name="T32" fmla="*/ 322 w 699"/>
                <a:gd name="T33" fmla="*/ 8 h 691"/>
                <a:gd name="T34" fmla="*/ 273 w 699"/>
                <a:gd name="T35" fmla="*/ 16 h 691"/>
                <a:gd name="T36" fmla="*/ 253 w 699"/>
                <a:gd name="T37" fmla="*/ 52 h 691"/>
                <a:gd name="T38" fmla="*/ 217 w 699"/>
                <a:gd name="T39" fmla="*/ 34 h 691"/>
                <a:gd name="T40" fmla="*/ 192 w 699"/>
                <a:gd name="T41" fmla="*/ 37 h 691"/>
                <a:gd name="T42" fmla="*/ 174 w 699"/>
                <a:gd name="T43" fmla="*/ 93 h 691"/>
                <a:gd name="T44" fmla="*/ 110 w 699"/>
                <a:gd name="T45" fmla="*/ 94 h 691"/>
                <a:gd name="T46" fmla="*/ 102 w 699"/>
                <a:gd name="T47" fmla="*/ 159 h 691"/>
                <a:gd name="T48" fmla="*/ 94 w 699"/>
                <a:gd name="T49" fmla="*/ 171 h 691"/>
                <a:gd name="T50" fmla="*/ 39 w 699"/>
                <a:gd name="T51" fmla="*/ 186 h 691"/>
                <a:gd name="T52" fmla="*/ 34 w 699"/>
                <a:gd name="T53" fmla="*/ 215 h 691"/>
                <a:gd name="T54" fmla="*/ 53 w 699"/>
                <a:gd name="T55" fmla="*/ 252 h 691"/>
                <a:gd name="T56" fmla="*/ 5 w 699"/>
                <a:gd name="T57" fmla="*/ 280 h 691"/>
                <a:gd name="T58" fmla="*/ 1 w 699"/>
                <a:gd name="T59" fmla="*/ 304 h 691"/>
                <a:gd name="T60" fmla="*/ 39 w 699"/>
                <a:gd name="T61" fmla="*/ 345 h 691"/>
                <a:gd name="T62" fmla="*/ 8 w 699"/>
                <a:gd name="T63" fmla="*/ 374 h 691"/>
                <a:gd name="T64" fmla="*/ 16 w 699"/>
                <a:gd name="T65" fmla="*/ 423 h 691"/>
                <a:gd name="T66" fmla="*/ 54 w 699"/>
                <a:gd name="T67" fmla="*/ 443 h 691"/>
                <a:gd name="T68" fmla="*/ 33 w 699"/>
                <a:gd name="T69" fmla="*/ 496 h 691"/>
                <a:gd name="T70" fmla="*/ 94 w 699"/>
                <a:gd name="T71" fmla="*/ 521 h 691"/>
                <a:gd name="T72" fmla="*/ 102 w 699"/>
                <a:gd name="T73" fmla="*/ 533 h 691"/>
                <a:gd name="T74" fmla="*/ 110 w 699"/>
                <a:gd name="T75" fmla="*/ 600 h 691"/>
                <a:gd name="T76" fmla="*/ 167 w 699"/>
                <a:gd name="T77" fmla="*/ 596 h 691"/>
                <a:gd name="T78" fmla="*/ 173 w 699"/>
                <a:gd name="T79" fmla="*/ 635 h 691"/>
                <a:gd name="T80" fmla="*/ 193 w 699"/>
                <a:gd name="T81" fmla="*/ 657 h 691"/>
                <a:gd name="T82" fmla="*/ 245 w 699"/>
                <a:gd name="T83" fmla="*/ 638 h 691"/>
                <a:gd name="T84" fmla="*/ 261 w 699"/>
                <a:gd name="T85" fmla="*/ 642 h 691"/>
                <a:gd name="T86" fmla="*/ 307 w 699"/>
                <a:gd name="T87" fmla="*/ 691 h 691"/>
                <a:gd name="T88" fmla="*/ 358 w 699"/>
                <a:gd name="T89" fmla="*/ 655 h 691"/>
                <a:gd name="T90" fmla="*/ 394 w 699"/>
                <a:gd name="T91" fmla="*/ 691 h 691"/>
                <a:gd name="T92" fmla="*/ 440 w 699"/>
                <a:gd name="T93" fmla="*/ 642 h 691"/>
                <a:gd name="T94" fmla="*/ 454 w 699"/>
                <a:gd name="T95" fmla="*/ 637 h 691"/>
                <a:gd name="T96" fmla="*/ 508 w 699"/>
                <a:gd name="T97" fmla="*/ 657 h 691"/>
                <a:gd name="T98" fmla="*/ 528 w 699"/>
                <a:gd name="T99" fmla="*/ 636 h 691"/>
                <a:gd name="T100" fmla="*/ 539 w 699"/>
                <a:gd name="T101" fmla="*/ 592 h 691"/>
                <a:gd name="T102" fmla="*/ 606 w 699"/>
                <a:gd name="T103" fmla="*/ 584 h 691"/>
                <a:gd name="T104" fmla="*/ 602 w 699"/>
                <a:gd name="T105" fmla="*/ 528 h 691"/>
                <a:gd name="T106" fmla="*/ 643 w 699"/>
                <a:gd name="T107" fmla="*/ 522 h 691"/>
                <a:gd name="T108" fmla="*/ 667 w 699"/>
                <a:gd name="T109" fmla="*/ 478 h 691"/>
                <a:gd name="T110" fmla="*/ 648 w 699"/>
                <a:gd name="T111" fmla="*/ 441 h 691"/>
                <a:gd name="T112" fmla="*/ 696 w 699"/>
                <a:gd name="T113" fmla="*/ 410 h 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99" h="691">
                  <a:moveTo>
                    <a:pt x="692" y="374"/>
                  </a:moveTo>
                  <a:cubicBezTo>
                    <a:pt x="662" y="354"/>
                    <a:pt x="662" y="354"/>
                    <a:pt x="662" y="354"/>
                  </a:cubicBezTo>
                  <a:cubicBezTo>
                    <a:pt x="662" y="347"/>
                    <a:pt x="662" y="347"/>
                    <a:pt x="662" y="347"/>
                  </a:cubicBezTo>
                  <a:cubicBezTo>
                    <a:pt x="662" y="346"/>
                    <a:pt x="662" y="346"/>
                    <a:pt x="662" y="345"/>
                  </a:cubicBezTo>
                  <a:cubicBezTo>
                    <a:pt x="662" y="339"/>
                    <a:pt x="662" y="339"/>
                    <a:pt x="662" y="339"/>
                  </a:cubicBezTo>
                  <a:cubicBezTo>
                    <a:pt x="691" y="320"/>
                    <a:pt x="691" y="320"/>
                    <a:pt x="691" y="320"/>
                  </a:cubicBezTo>
                  <a:cubicBezTo>
                    <a:pt x="696" y="316"/>
                    <a:pt x="699" y="310"/>
                    <a:pt x="698" y="304"/>
                  </a:cubicBezTo>
                  <a:cubicBezTo>
                    <a:pt x="696" y="282"/>
                    <a:pt x="696" y="282"/>
                    <a:pt x="696" y="282"/>
                  </a:cubicBezTo>
                  <a:cubicBezTo>
                    <a:pt x="695" y="276"/>
                    <a:pt x="691" y="271"/>
                    <a:pt x="684" y="269"/>
                  </a:cubicBezTo>
                  <a:cubicBezTo>
                    <a:pt x="650" y="259"/>
                    <a:pt x="650" y="259"/>
                    <a:pt x="650" y="259"/>
                  </a:cubicBezTo>
                  <a:cubicBezTo>
                    <a:pt x="650" y="259"/>
                    <a:pt x="650" y="259"/>
                    <a:pt x="650" y="258"/>
                  </a:cubicBezTo>
                  <a:cubicBezTo>
                    <a:pt x="645" y="243"/>
                    <a:pt x="645" y="243"/>
                    <a:pt x="645" y="243"/>
                  </a:cubicBezTo>
                  <a:cubicBezTo>
                    <a:pt x="667" y="215"/>
                    <a:pt x="667" y="215"/>
                    <a:pt x="667" y="215"/>
                  </a:cubicBezTo>
                  <a:cubicBezTo>
                    <a:pt x="671" y="211"/>
                    <a:pt x="671" y="204"/>
                    <a:pt x="668" y="198"/>
                  </a:cubicBezTo>
                  <a:cubicBezTo>
                    <a:pt x="663" y="188"/>
                    <a:pt x="663" y="188"/>
                    <a:pt x="663" y="188"/>
                  </a:cubicBezTo>
                  <a:cubicBezTo>
                    <a:pt x="663" y="187"/>
                    <a:pt x="663" y="187"/>
                    <a:pt x="662" y="186"/>
                  </a:cubicBezTo>
                  <a:cubicBezTo>
                    <a:pt x="657" y="179"/>
                    <a:pt x="657" y="179"/>
                    <a:pt x="657" y="179"/>
                  </a:cubicBezTo>
                  <a:cubicBezTo>
                    <a:pt x="654" y="174"/>
                    <a:pt x="649" y="171"/>
                    <a:pt x="644" y="171"/>
                  </a:cubicBezTo>
                  <a:cubicBezTo>
                    <a:pt x="607" y="171"/>
                    <a:pt x="607" y="171"/>
                    <a:pt x="607" y="171"/>
                  </a:cubicBezTo>
                  <a:cubicBezTo>
                    <a:pt x="603" y="165"/>
                    <a:pt x="603" y="165"/>
                    <a:pt x="603" y="165"/>
                  </a:cubicBezTo>
                  <a:cubicBezTo>
                    <a:pt x="603" y="165"/>
                    <a:pt x="602" y="165"/>
                    <a:pt x="602" y="165"/>
                  </a:cubicBezTo>
                  <a:cubicBezTo>
                    <a:pt x="599" y="160"/>
                    <a:pt x="599" y="160"/>
                    <a:pt x="599" y="160"/>
                  </a:cubicBezTo>
                  <a:cubicBezTo>
                    <a:pt x="610" y="126"/>
                    <a:pt x="610" y="126"/>
                    <a:pt x="610" y="126"/>
                  </a:cubicBezTo>
                  <a:cubicBezTo>
                    <a:pt x="612" y="120"/>
                    <a:pt x="610" y="113"/>
                    <a:pt x="606" y="109"/>
                  </a:cubicBezTo>
                  <a:cubicBezTo>
                    <a:pt x="591" y="94"/>
                    <a:pt x="591" y="94"/>
                    <a:pt x="591" y="94"/>
                  </a:cubicBezTo>
                  <a:cubicBezTo>
                    <a:pt x="586" y="89"/>
                    <a:pt x="580" y="88"/>
                    <a:pt x="574" y="90"/>
                  </a:cubicBezTo>
                  <a:cubicBezTo>
                    <a:pt x="540" y="101"/>
                    <a:pt x="540" y="101"/>
                    <a:pt x="540" y="101"/>
                  </a:cubicBezTo>
                  <a:cubicBezTo>
                    <a:pt x="540" y="101"/>
                    <a:pt x="539" y="101"/>
                    <a:pt x="539" y="100"/>
                  </a:cubicBezTo>
                  <a:cubicBezTo>
                    <a:pt x="533" y="97"/>
                    <a:pt x="533" y="97"/>
                    <a:pt x="533" y="97"/>
                  </a:cubicBezTo>
                  <a:cubicBezTo>
                    <a:pt x="528" y="93"/>
                    <a:pt x="528" y="93"/>
                    <a:pt x="528" y="93"/>
                  </a:cubicBezTo>
                  <a:cubicBezTo>
                    <a:pt x="528" y="56"/>
                    <a:pt x="528" y="56"/>
                    <a:pt x="528" y="56"/>
                  </a:cubicBezTo>
                  <a:cubicBezTo>
                    <a:pt x="528" y="50"/>
                    <a:pt x="525" y="44"/>
                    <a:pt x="519" y="42"/>
                  </a:cubicBezTo>
                  <a:cubicBezTo>
                    <a:pt x="509" y="37"/>
                    <a:pt x="509" y="37"/>
                    <a:pt x="509" y="37"/>
                  </a:cubicBezTo>
                  <a:cubicBezTo>
                    <a:pt x="509" y="36"/>
                    <a:pt x="509" y="36"/>
                    <a:pt x="508" y="36"/>
                  </a:cubicBezTo>
                  <a:cubicBezTo>
                    <a:pt x="499" y="32"/>
                    <a:pt x="499" y="32"/>
                    <a:pt x="499" y="32"/>
                  </a:cubicBezTo>
                  <a:cubicBezTo>
                    <a:pt x="494" y="30"/>
                    <a:pt x="488" y="31"/>
                    <a:pt x="484" y="34"/>
                  </a:cubicBezTo>
                  <a:cubicBezTo>
                    <a:pt x="454" y="55"/>
                    <a:pt x="454" y="55"/>
                    <a:pt x="454" y="55"/>
                  </a:cubicBezTo>
                  <a:cubicBezTo>
                    <a:pt x="449" y="53"/>
                    <a:pt x="449" y="53"/>
                    <a:pt x="449" y="53"/>
                  </a:cubicBezTo>
                  <a:cubicBezTo>
                    <a:pt x="448" y="52"/>
                    <a:pt x="447" y="52"/>
                    <a:pt x="447" y="52"/>
                  </a:cubicBezTo>
                  <a:cubicBezTo>
                    <a:pt x="440" y="50"/>
                    <a:pt x="440" y="50"/>
                    <a:pt x="440" y="50"/>
                  </a:cubicBezTo>
                  <a:cubicBezTo>
                    <a:pt x="428" y="16"/>
                    <a:pt x="428" y="16"/>
                    <a:pt x="428" y="16"/>
                  </a:cubicBezTo>
                  <a:cubicBezTo>
                    <a:pt x="427" y="11"/>
                    <a:pt x="422" y="7"/>
                    <a:pt x="417" y="6"/>
                  </a:cubicBezTo>
                  <a:cubicBezTo>
                    <a:pt x="407" y="3"/>
                    <a:pt x="407" y="3"/>
                    <a:pt x="407" y="3"/>
                  </a:cubicBezTo>
                  <a:cubicBezTo>
                    <a:pt x="406" y="3"/>
                    <a:pt x="405" y="3"/>
                    <a:pt x="405" y="3"/>
                  </a:cubicBezTo>
                  <a:cubicBezTo>
                    <a:pt x="394" y="1"/>
                    <a:pt x="394" y="1"/>
                    <a:pt x="394" y="1"/>
                  </a:cubicBezTo>
                  <a:cubicBezTo>
                    <a:pt x="388" y="1"/>
                    <a:pt x="383" y="3"/>
                    <a:pt x="379" y="8"/>
                  </a:cubicBezTo>
                  <a:cubicBezTo>
                    <a:pt x="359" y="38"/>
                    <a:pt x="359" y="38"/>
                    <a:pt x="359" y="38"/>
                  </a:cubicBezTo>
                  <a:cubicBezTo>
                    <a:pt x="352" y="37"/>
                    <a:pt x="352" y="37"/>
                    <a:pt x="352" y="37"/>
                  </a:cubicBezTo>
                  <a:cubicBezTo>
                    <a:pt x="352" y="37"/>
                    <a:pt x="351" y="37"/>
                    <a:pt x="350" y="37"/>
                  </a:cubicBezTo>
                  <a:cubicBezTo>
                    <a:pt x="342" y="38"/>
                    <a:pt x="342" y="38"/>
                    <a:pt x="342" y="38"/>
                  </a:cubicBezTo>
                  <a:cubicBezTo>
                    <a:pt x="322" y="8"/>
                    <a:pt x="322" y="8"/>
                    <a:pt x="322" y="8"/>
                  </a:cubicBezTo>
                  <a:cubicBezTo>
                    <a:pt x="318" y="3"/>
                    <a:pt x="312" y="0"/>
                    <a:pt x="306" y="2"/>
                  </a:cubicBezTo>
                  <a:cubicBezTo>
                    <a:pt x="285" y="5"/>
                    <a:pt x="285" y="5"/>
                    <a:pt x="285" y="5"/>
                  </a:cubicBezTo>
                  <a:cubicBezTo>
                    <a:pt x="279" y="7"/>
                    <a:pt x="275" y="11"/>
                    <a:pt x="273" y="16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1" y="50"/>
                    <a:pt x="261" y="50"/>
                    <a:pt x="261" y="50"/>
                  </a:cubicBezTo>
                  <a:cubicBezTo>
                    <a:pt x="253" y="52"/>
                    <a:pt x="253" y="52"/>
                    <a:pt x="253" y="52"/>
                  </a:cubicBezTo>
                  <a:cubicBezTo>
                    <a:pt x="253" y="52"/>
                    <a:pt x="253" y="53"/>
                    <a:pt x="253" y="53"/>
                  </a:cubicBezTo>
                  <a:cubicBezTo>
                    <a:pt x="247" y="55"/>
                    <a:pt x="247" y="55"/>
                    <a:pt x="247" y="55"/>
                  </a:cubicBezTo>
                  <a:cubicBezTo>
                    <a:pt x="217" y="34"/>
                    <a:pt x="217" y="34"/>
                    <a:pt x="217" y="34"/>
                  </a:cubicBezTo>
                  <a:cubicBezTo>
                    <a:pt x="213" y="31"/>
                    <a:pt x="207" y="30"/>
                    <a:pt x="202" y="32"/>
                  </a:cubicBezTo>
                  <a:cubicBezTo>
                    <a:pt x="193" y="36"/>
                    <a:pt x="193" y="36"/>
                    <a:pt x="193" y="36"/>
                  </a:cubicBezTo>
                  <a:cubicBezTo>
                    <a:pt x="192" y="36"/>
                    <a:pt x="192" y="36"/>
                    <a:pt x="192" y="37"/>
                  </a:cubicBezTo>
                  <a:cubicBezTo>
                    <a:pt x="181" y="42"/>
                    <a:pt x="181" y="42"/>
                    <a:pt x="181" y="42"/>
                  </a:cubicBezTo>
                  <a:cubicBezTo>
                    <a:pt x="176" y="45"/>
                    <a:pt x="172" y="50"/>
                    <a:pt x="173" y="57"/>
                  </a:cubicBezTo>
                  <a:cubicBezTo>
                    <a:pt x="174" y="93"/>
                    <a:pt x="174" y="93"/>
                    <a:pt x="174" y="93"/>
                  </a:cubicBezTo>
                  <a:cubicBezTo>
                    <a:pt x="162" y="101"/>
                    <a:pt x="162" y="101"/>
                    <a:pt x="162" y="101"/>
                  </a:cubicBezTo>
                  <a:cubicBezTo>
                    <a:pt x="127" y="90"/>
                    <a:pt x="127" y="90"/>
                    <a:pt x="127" y="90"/>
                  </a:cubicBezTo>
                  <a:cubicBezTo>
                    <a:pt x="121" y="88"/>
                    <a:pt x="115" y="89"/>
                    <a:pt x="110" y="94"/>
                  </a:cubicBezTo>
                  <a:cubicBezTo>
                    <a:pt x="95" y="109"/>
                    <a:pt x="95" y="109"/>
                    <a:pt x="95" y="109"/>
                  </a:cubicBezTo>
                  <a:cubicBezTo>
                    <a:pt x="90" y="113"/>
                    <a:pt x="89" y="120"/>
                    <a:pt x="91" y="126"/>
                  </a:cubicBezTo>
                  <a:cubicBezTo>
                    <a:pt x="102" y="159"/>
                    <a:pt x="102" y="159"/>
                    <a:pt x="102" y="159"/>
                  </a:cubicBezTo>
                  <a:cubicBezTo>
                    <a:pt x="102" y="159"/>
                    <a:pt x="102" y="160"/>
                    <a:pt x="101" y="160"/>
                  </a:cubicBezTo>
                  <a:cubicBezTo>
                    <a:pt x="98" y="166"/>
                    <a:pt x="98" y="166"/>
                    <a:pt x="98" y="166"/>
                  </a:cubicBezTo>
                  <a:cubicBezTo>
                    <a:pt x="94" y="171"/>
                    <a:pt x="94" y="171"/>
                    <a:pt x="94" y="171"/>
                  </a:cubicBezTo>
                  <a:cubicBezTo>
                    <a:pt x="57" y="171"/>
                    <a:pt x="57" y="171"/>
                    <a:pt x="57" y="171"/>
                  </a:cubicBezTo>
                  <a:cubicBezTo>
                    <a:pt x="52" y="171"/>
                    <a:pt x="47" y="174"/>
                    <a:pt x="44" y="179"/>
                  </a:cubicBezTo>
                  <a:cubicBezTo>
                    <a:pt x="39" y="186"/>
                    <a:pt x="39" y="186"/>
                    <a:pt x="39" y="186"/>
                  </a:cubicBezTo>
                  <a:cubicBezTo>
                    <a:pt x="38" y="187"/>
                    <a:pt x="38" y="187"/>
                    <a:pt x="38" y="188"/>
                  </a:cubicBezTo>
                  <a:cubicBezTo>
                    <a:pt x="32" y="198"/>
                    <a:pt x="32" y="198"/>
                    <a:pt x="32" y="198"/>
                  </a:cubicBezTo>
                  <a:cubicBezTo>
                    <a:pt x="30" y="204"/>
                    <a:pt x="30" y="211"/>
                    <a:pt x="34" y="215"/>
                  </a:cubicBezTo>
                  <a:cubicBezTo>
                    <a:pt x="56" y="243"/>
                    <a:pt x="56" y="243"/>
                    <a:pt x="56" y="243"/>
                  </a:cubicBezTo>
                  <a:cubicBezTo>
                    <a:pt x="53" y="251"/>
                    <a:pt x="53" y="251"/>
                    <a:pt x="53" y="251"/>
                  </a:cubicBezTo>
                  <a:cubicBezTo>
                    <a:pt x="53" y="251"/>
                    <a:pt x="53" y="252"/>
                    <a:pt x="53" y="252"/>
                  </a:cubicBezTo>
                  <a:cubicBezTo>
                    <a:pt x="52" y="258"/>
                    <a:pt x="52" y="258"/>
                    <a:pt x="52" y="258"/>
                  </a:cubicBezTo>
                  <a:cubicBezTo>
                    <a:pt x="17" y="269"/>
                    <a:pt x="17" y="269"/>
                    <a:pt x="17" y="269"/>
                  </a:cubicBezTo>
                  <a:cubicBezTo>
                    <a:pt x="11" y="270"/>
                    <a:pt x="7" y="275"/>
                    <a:pt x="5" y="280"/>
                  </a:cubicBezTo>
                  <a:cubicBezTo>
                    <a:pt x="3" y="291"/>
                    <a:pt x="3" y="291"/>
                    <a:pt x="3" y="291"/>
                  </a:cubicBezTo>
                  <a:cubicBezTo>
                    <a:pt x="3" y="291"/>
                    <a:pt x="3" y="292"/>
                    <a:pt x="2" y="293"/>
                  </a:cubicBezTo>
                  <a:cubicBezTo>
                    <a:pt x="1" y="304"/>
                    <a:pt x="1" y="304"/>
                    <a:pt x="1" y="304"/>
                  </a:cubicBezTo>
                  <a:cubicBezTo>
                    <a:pt x="1" y="310"/>
                    <a:pt x="3" y="316"/>
                    <a:pt x="9" y="320"/>
                  </a:cubicBezTo>
                  <a:cubicBezTo>
                    <a:pt x="39" y="339"/>
                    <a:pt x="39" y="339"/>
                    <a:pt x="39" y="339"/>
                  </a:cubicBezTo>
                  <a:cubicBezTo>
                    <a:pt x="39" y="345"/>
                    <a:pt x="39" y="345"/>
                    <a:pt x="39" y="345"/>
                  </a:cubicBezTo>
                  <a:cubicBezTo>
                    <a:pt x="38" y="346"/>
                    <a:pt x="38" y="346"/>
                    <a:pt x="39" y="347"/>
                  </a:cubicBezTo>
                  <a:cubicBezTo>
                    <a:pt x="39" y="353"/>
                    <a:pt x="39" y="353"/>
                    <a:pt x="39" y="353"/>
                  </a:cubicBezTo>
                  <a:cubicBezTo>
                    <a:pt x="8" y="374"/>
                    <a:pt x="8" y="374"/>
                    <a:pt x="8" y="374"/>
                  </a:cubicBezTo>
                  <a:cubicBezTo>
                    <a:pt x="3" y="377"/>
                    <a:pt x="0" y="384"/>
                    <a:pt x="1" y="390"/>
                  </a:cubicBezTo>
                  <a:cubicBezTo>
                    <a:pt x="5" y="411"/>
                    <a:pt x="5" y="411"/>
                    <a:pt x="5" y="411"/>
                  </a:cubicBezTo>
                  <a:cubicBezTo>
                    <a:pt x="6" y="417"/>
                    <a:pt x="10" y="421"/>
                    <a:pt x="16" y="423"/>
                  </a:cubicBezTo>
                  <a:cubicBezTo>
                    <a:pt x="52" y="435"/>
                    <a:pt x="52" y="435"/>
                    <a:pt x="52" y="435"/>
                  </a:cubicBezTo>
                  <a:cubicBezTo>
                    <a:pt x="53" y="440"/>
                    <a:pt x="53" y="440"/>
                    <a:pt x="53" y="440"/>
                  </a:cubicBezTo>
                  <a:cubicBezTo>
                    <a:pt x="53" y="441"/>
                    <a:pt x="53" y="442"/>
                    <a:pt x="54" y="443"/>
                  </a:cubicBezTo>
                  <a:cubicBezTo>
                    <a:pt x="56" y="449"/>
                    <a:pt x="56" y="449"/>
                    <a:pt x="56" y="449"/>
                  </a:cubicBezTo>
                  <a:cubicBezTo>
                    <a:pt x="34" y="478"/>
                    <a:pt x="34" y="478"/>
                    <a:pt x="34" y="478"/>
                  </a:cubicBezTo>
                  <a:cubicBezTo>
                    <a:pt x="30" y="483"/>
                    <a:pt x="30" y="490"/>
                    <a:pt x="33" y="496"/>
                  </a:cubicBezTo>
                  <a:cubicBezTo>
                    <a:pt x="43" y="514"/>
                    <a:pt x="43" y="514"/>
                    <a:pt x="43" y="514"/>
                  </a:cubicBezTo>
                  <a:cubicBezTo>
                    <a:pt x="46" y="519"/>
                    <a:pt x="52" y="522"/>
                    <a:pt x="58" y="522"/>
                  </a:cubicBezTo>
                  <a:cubicBezTo>
                    <a:pt x="94" y="521"/>
                    <a:pt x="94" y="521"/>
                    <a:pt x="94" y="521"/>
                  </a:cubicBezTo>
                  <a:cubicBezTo>
                    <a:pt x="98" y="527"/>
                    <a:pt x="98" y="527"/>
                    <a:pt x="98" y="527"/>
                  </a:cubicBezTo>
                  <a:cubicBezTo>
                    <a:pt x="98" y="528"/>
                    <a:pt x="98" y="528"/>
                    <a:pt x="99" y="529"/>
                  </a:cubicBezTo>
                  <a:cubicBezTo>
                    <a:pt x="102" y="533"/>
                    <a:pt x="102" y="533"/>
                    <a:pt x="102" y="533"/>
                  </a:cubicBezTo>
                  <a:cubicBezTo>
                    <a:pt x="91" y="568"/>
                    <a:pt x="91" y="568"/>
                    <a:pt x="91" y="568"/>
                  </a:cubicBezTo>
                  <a:cubicBezTo>
                    <a:pt x="89" y="573"/>
                    <a:pt x="90" y="580"/>
                    <a:pt x="95" y="584"/>
                  </a:cubicBezTo>
                  <a:cubicBezTo>
                    <a:pt x="110" y="600"/>
                    <a:pt x="110" y="600"/>
                    <a:pt x="110" y="600"/>
                  </a:cubicBezTo>
                  <a:cubicBezTo>
                    <a:pt x="115" y="604"/>
                    <a:pt x="121" y="605"/>
                    <a:pt x="127" y="603"/>
                  </a:cubicBezTo>
                  <a:cubicBezTo>
                    <a:pt x="162" y="592"/>
                    <a:pt x="162" y="592"/>
                    <a:pt x="162" y="592"/>
                  </a:cubicBezTo>
                  <a:cubicBezTo>
                    <a:pt x="167" y="596"/>
                    <a:pt x="167" y="596"/>
                    <a:pt x="167" y="596"/>
                  </a:cubicBezTo>
                  <a:cubicBezTo>
                    <a:pt x="167" y="596"/>
                    <a:pt x="168" y="596"/>
                    <a:pt x="168" y="596"/>
                  </a:cubicBezTo>
                  <a:cubicBezTo>
                    <a:pt x="174" y="600"/>
                    <a:pt x="174" y="600"/>
                    <a:pt x="174" y="600"/>
                  </a:cubicBezTo>
                  <a:cubicBezTo>
                    <a:pt x="173" y="635"/>
                    <a:pt x="173" y="635"/>
                    <a:pt x="173" y="635"/>
                  </a:cubicBezTo>
                  <a:cubicBezTo>
                    <a:pt x="172" y="641"/>
                    <a:pt x="175" y="647"/>
                    <a:pt x="180" y="650"/>
                  </a:cubicBezTo>
                  <a:cubicBezTo>
                    <a:pt x="190" y="656"/>
                    <a:pt x="190" y="656"/>
                    <a:pt x="190" y="656"/>
                  </a:cubicBezTo>
                  <a:cubicBezTo>
                    <a:pt x="191" y="656"/>
                    <a:pt x="192" y="657"/>
                    <a:pt x="193" y="657"/>
                  </a:cubicBezTo>
                  <a:cubicBezTo>
                    <a:pt x="202" y="661"/>
                    <a:pt x="202" y="661"/>
                    <a:pt x="202" y="661"/>
                  </a:cubicBezTo>
                  <a:cubicBezTo>
                    <a:pt x="207" y="663"/>
                    <a:pt x="213" y="663"/>
                    <a:pt x="218" y="659"/>
                  </a:cubicBezTo>
                  <a:cubicBezTo>
                    <a:pt x="245" y="638"/>
                    <a:pt x="245" y="638"/>
                    <a:pt x="245" y="638"/>
                  </a:cubicBezTo>
                  <a:cubicBezTo>
                    <a:pt x="246" y="639"/>
                    <a:pt x="247" y="639"/>
                    <a:pt x="248" y="639"/>
                  </a:cubicBezTo>
                  <a:cubicBezTo>
                    <a:pt x="254" y="640"/>
                    <a:pt x="254" y="640"/>
                    <a:pt x="254" y="640"/>
                  </a:cubicBezTo>
                  <a:cubicBezTo>
                    <a:pt x="261" y="642"/>
                    <a:pt x="261" y="642"/>
                    <a:pt x="261" y="642"/>
                  </a:cubicBezTo>
                  <a:cubicBezTo>
                    <a:pt x="273" y="677"/>
                    <a:pt x="273" y="677"/>
                    <a:pt x="273" y="677"/>
                  </a:cubicBezTo>
                  <a:cubicBezTo>
                    <a:pt x="275" y="683"/>
                    <a:pt x="280" y="687"/>
                    <a:pt x="286" y="688"/>
                  </a:cubicBezTo>
                  <a:cubicBezTo>
                    <a:pt x="307" y="691"/>
                    <a:pt x="307" y="691"/>
                    <a:pt x="307" y="691"/>
                  </a:cubicBezTo>
                  <a:cubicBezTo>
                    <a:pt x="312" y="691"/>
                    <a:pt x="318" y="689"/>
                    <a:pt x="322" y="684"/>
                  </a:cubicBezTo>
                  <a:cubicBezTo>
                    <a:pt x="343" y="655"/>
                    <a:pt x="343" y="655"/>
                    <a:pt x="343" y="655"/>
                  </a:cubicBezTo>
                  <a:cubicBezTo>
                    <a:pt x="358" y="655"/>
                    <a:pt x="358" y="655"/>
                    <a:pt x="358" y="655"/>
                  </a:cubicBezTo>
                  <a:cubicBezTo>
                    <a:pt x="379" y="684"/>
                    <a:pt x="379" y="684"/>
                    <a:pt x="379" y="684"/>
                  </a:cubicBezTo>
                  <a:cubicBezTo>
                    <a:pt x="382" y="688"/>
                    <a:pt x="387" y="691"/>
                    <a:pt x="392" y="691"/>
                  </a:cubicBezTo>
                  <a:cubicBezTo>
                    <a:pt x="393" y="691"/>
                    <a:pt x="394" y="691"/>
                    <a:pt x="394" y="691"/>
                  </a:cubicBezTo>
                  <a:cubicBezTo>
                    <a:pt x="415" y="688"/>
                    <a:pt x="415" y="688"/>
                    <a:pt x="415" y="688"/>
                  </a:cubicBezTo>
                  <a:cubicBezTo>
                    <a:pt x="421" y="687"/>
                    <a:pt x="426" y="683"/>
                    <a:pt x="428" y="677"/>
                  </a:cubicBezTo>
                  <a:cubicBezTo>
                    <a:pt x="440" y="642"/>
                    <a:pt x="440" y="642"/>
                    <a:pt x="440" y="642"/>
                  </a:cubicBezTo>
                  <a:cubicBezTo>
                    <a:pt x="448" y="640"/>
                    <a:pt x="448" y="640"/>
                    <a:pt x="448" y="640"/>
                  </a:cubicBezTo>
                  <a:cubicBezTo>
                    <a:pt x="448" y="640"/>
                    <a:pt x="448" y="639"/>
                    <a:pt x="448" y="639"/>
                  </a:cubicBezTo>
                  <a:cubicBezTo>
                    <a:pt x="454" y="637"/>
                    <a:pt x="454" y="637"/>
                    <a:pt x="454" y="637"/>
                  </a:cubicBezTo>
                  <a:cubicBezTo>
                    <a:pt x="483" y="659"/>
                    <a:pt x="483" y="659"/>
                    <a:pt x="483" y="659"/>
                  </a:cubicBezTo>
                  <a:cubicBezTo>
                    <a:pt x="488" y="663"/>
                    <a:pt x="494" y="663"/>
                    <a:pt x="499" y="661"/>
                  </a:cubicBezTo>
                  <a:cubicBezTo>
                    <a:pt x="508" y="657"/>
                    <a:pt x="508" y="657"/>
                    <a:pt x="508" y="657"/>
                  </a:cubicBezTo>
                  <a:cubicBezTo>
                    <a:pt x="509" y="657"/>
                    <a:pt x="510" y="656"/>
                    <a:pt x="510" y="656"/>
                  </a:cubicBezTo>
                  <a:cubicBezTo>
                    <a:pt x="521" y="650"/>
                    <a:pt x="521" y="650"/>
                    <a:pt x="521" y="650"/>
                  </a:cubicBezTo>
                  <a:cubicBezTo>
                    <a:pt x="525" y="647"/>
                    <a:pt x="528" y="641"/>
                    <a:pt x="528" y="636"/>
                  </a:cubicBezTo>
                  <a:cubicBezTo>
                    <a:pt x="528" y="600"/>
                    <a:pt x="528" y="600"/>
                    <a:pt x="528" y="600"/>
                  </a:cubicBezTo>
                  <a:cubicBezTo>
                    <a:pt x="533" y="596"/>
                    <a:pt x="533" y="596"/>
                    <a:pt x="533" y="596"/>
                  </a:cubicBezTo>
                  <a:cubicBezTo>
                    <a:pt x="539" y="592"/>
                    <a:pt x="539" y="592"/>
                    <a:pt x="539" y="592"/>
                  </a:cubicBezTo>
                  <a:cubicBezTo>
                    <a:pt x="574" y="603"/>
                    <a:pt x="574" y="603"/>
                    <a:pt x="574" y="603"/>
                  </a:cubicBezTo>
                  <a:cubicBezTo>
                    <a:pt x="580" y="605"/>
                    <a:pt x="586" y="604"/>
                    <a:pt x="591" y="600"/>
                  </a:cubicBezTo>
                  <a:cubicBezTo>
                    <a:pt x="606" y="584"/>
                    <a:pt x="606" y="584"/>
                    <a:pt x="606" y="584"/>
                  </a:cubicBezTo>
                  <a:cubicBezTo>
                    <a:pt x="610" y="580"/>
                    <a:pt x="612" y="573"/>
                    <a:pt x="610" y="568"/>
                  </a:cubicBezTo>
                  <a:cubicBezTo>
                    <a:pt x="599" y="533"/>
                    <a:pt x="599" y="533"/>
                    <a:pt x="599" y="533"/>
                  </a:cubicBezTo>
                  <a:cubicBezTo>
                    <a:pt x="602" y="528"/>
                    <a:pt x="602" y="528"/>
                    <a:pt x="602" y="528"/>
                  </a:cubicBezTo>
                  <a:cubicBezTo>
                    <a:pt x="603" y="528"/>
                    <a:pt x="603" y="528"/>
                    <a:pt x="603" y="527"/>
                  </a:cubicBezTo>
                  <a:cubicBezTo>
                    <a:pt x="607" y="521"/>
                    <a:pt x="607" y="521"/>
                    <a:pt x="607" y="521"/>
                  </a:cubicBezTo>
                  <a:cubicBezTo>
                    <a:pt x="643" y="522"/>
                    <a:pt x="643" y="522"/>
                    <a:pt x="643" y="522"/>
                  </a:cubicBezTo>
                  <a:cubicBezTo>
                    <a:pt x="649" y="522"/>
                    <a:pt x="655" y="519"/>
                    <a:pt x="658" y="514"/>
                  </a:cubicBezTo>
                  <a:cubicBezTo>
                    <a:pt x="668" y="496"/>
                    <a:pt x="668" y="496"/>
                    <a:pt x="668" y="496"/>
                  </a:cubicBezTo>
                  <a:cubicBezTo>
                    <a:pt x="671" y="490"/>
                    <a:pt x="671" y="483"/>
                    <a:pt x="667" y="478"/>
                  </a:cubicBezTo>
                  <a:cubicBezTo>
                    <a:pt x="645" y="449"/>
                    <a:pt x="645" y="449"/>
                    <a:pt x="645" y="449"/>
                  </a:cubicBezTo>
                  <a:cubicBezTo>
                    <a:pt x="647" y="443"/>
                    <a:pt x="647" y="443"/>
                    <a:pt x="647" y="443"/>
                  </a:cubicBezTo>
                  <a:cubicBezTo>
                    <a:pt x="647" y="443"/>
                    <a:pt x="648" y="442"/>
                    <a:pt x="648" y="441"/>
                  </a:cubicBezTo>
                  <a:cubicBezTo>
                    <a:pt x="649" y="435"/>
                    <a:pt x="649" y="435"/>
                    <a:pt x="649" y="435"/>
                  </a:cubicBezTo>
                  <a:cubicBezTo>
                    <a:pt x="685" y="423"/>
                    <a:pt x="685" y="423"/>
                    <a:pt x="685" y="423"/>
                  </a:cubicBezTo>
                  <a:cubicBezTo>
                    <a:pt x="691" y="421"/>
                    <a:pt x="695" y="416"/>
                    <a:pt x="696" y="410"/>
                  </a:cubicBezTo>
                  <a:cubicBezTo>
                    <a:pt x="698" y="389"/>
                    <a:pt x="698" y="389"/>
                    <a:pt x="698" y="389"/>
                  </a:cubicBezTo>
                  <a:cubicBezTo>
                    <a:pt x="699" y="383"/>
                    <a:pt x="697" y="377"/>
                    <a:pt x="692" y="37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CH" sz="1600" dirty="0"/>
            </a:p>
          </p:txBody>
        </p:sp>
        <p:sp>
          <p:nvSpPr>
            <p:cNvPr id="25" name="Oval 15">
              <a:extLst>
                <a:ext uri="{FF2B5EF4-FFF2-40B4-BE49-F238E27FC236}">
                  <a16:creationId xmlns:a16="http://schemas.microsoft.com/office/drawing/2014/main" id="{8E313B6D-FF45-4194-920A-254C99AC5E5E}"/>
                </a:ext>
              </a:extLst>
            </p:cNvPr>
            <p:cNvSpPr/>
            <p:nvPr/>
          </p:nvSpPr>
          <p:spPr>
            <a:xfrm>
              <a:off x="11696315" y="6362315"/>
              <a:ext cx="359032" cy="35903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</p:grpSp>
    </p:spTree>
    <p:extLst>
      <p:ext uri="{BB962C8B-B14F-4D97-AF65-F5344CB8AC3E}">
        <p14:creationId xmlns:p14="http://schemas.microsoft.com/office/powerpoint/2010/main" val="1464400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5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 mod="1">
    <p:ext uri="{DCECCB84-F9BA-43D5-87BE-67443E8EF086}">
      <p15:sldGuideLst xmlns:p15="http://schemas.microsoft.com/office/powerpoint/2012/main">
        <p15:guide id="1" pos="1980">
          <p15:clr>
            <a:srgbClr val="FBAE40"/>
          </p15:clr>
        </p15:guide>
        <p15:guide id="2" pos="2162">
          <p15:clr>
            <a:srgbClr val="FBAE40"/>
          </p15:clr>
        </p15:guide>
        <p15:guide id="3" pos="3749">
          <p15:clr>
            <a:srgbClr val="FBAE40"/>
          </p15:clr>
        </p15:guide>
        <p15:guide id="4" pos="3931">
          <p15:clr>
            <a:srgbClr val="FBAE40"/>
          </p15:clr>
        </p15:guide>
        <p15:guide id="5" pos="5518">
          <p15:clr>
            <a:srgbClr val="FBAE40"/>
          </p15:clr>
        </p15:guide>
        <p15:guide id="6" pos="570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CH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CH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A13FF3-A3B4-402D-91B1-C176C247EB92}" type="datetimeFigureOut">
              <a:rPr lang="fr-CH" smtClean="0"/>
              <a:t>05.04.2019</a:t>
            </a:fld>
            <a:endParaRPr lang="fr-CH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107053-0274-46BF-A48C-B751F6C03B80}" type="slidenum">
              <a:rPr lang="fr-CH" smtClean="0"/>
              <a:t>‹N°›</a:t>
            </a:fld>
            <a:endParaRPr lang="fr-CH"/>
          </a:p>
        </p:txBody>
      </p:sp>
      <p:sp>
        <p:nvSpPr>
          <p:cNvPr id="7" name="Freeform 6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" name="Freeform 7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9" name="Group 12">
            <a:extLst>
              <a:ext uri="{FF2B5EF4-FFF2-40B4-BE49-F238E27FC236}">
                <a16:creationId xmlns:a16="http://schemas.microsoft.com/office/drawing/2014/main" id="{3E424021-BD2D-41CC-96DE-3A63B1B1C980}"/>
              </a:ext>
            </a:extLst>
          </p:cNvPr>
          <p:cNvGrpSpPr/>
          <p:nvPr userDrawn="1"/>
        </p:nvGrpSpPr>
        <p:grpSpPr>
          <a:xfrm>
            <a:off x="11588238" y="6254238"/>
            <a:ext cx="575187" cy="575187"/>
            <a:chOff x="11588238" y="6254238"/>
            <a:chExt cx="575187" cy="575187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83D20C9B-7425-4EE5-A346-461DC222AAC1}"/>
                </a:ext>
              </a:extLst>
            </p:cNvPr>
            <p:cNvSpPr>
              <a:spLocks/>
            </p:cNvSpPr>
            <p:nvPr>
              <p:custDataLst>
                <p:tags r:id="rId1"/>
              </p:custDataLst>
            </p:nvPr>
          </p:nvSpPr>
          <p:spPr bwMode="gray">
            <a:xfrm>
              <a:off x="11588238" y="6254238"/>
              <a:ext cx="575187" cy="575187"/>
            </a:xfrm>
            <a:custGeom>
              <a:avLst/>
              <a:gdLst>
                <a:gd name="T0" fmla="*/ 662 w 699"/>
                <a:gd name="T1" fmla="*/ 347 h 691"/>
                <a:gd name="T2" fmla="*/ 691 w 699"/>
                <a:gd name="T3" fmla="*/ 320 h 691"/>
                <a:gd name="T4" fmla="*/ 684 w 699"/>
                <a:gd name="T5" fmla="*/ 269 h 691"/>
                <a:gd name="T6" fmla="*/ 645 w 699"/>
                <a:gd name="T7" fmla="*/ 243 h 691"/>
                <a:gd name="T8" fmla="*/ 663 w 699"/>
                <a:gd name="T9" fmla="*/ 188 h 691"/>
                <a:gd name="T10" fmla="*/ 644 w 699"/>
                <a:gd name="T11" fmla="*/ 171 h 691"/>
                <a:gd name="T12" fmla="*/ 602 w 699"/>
                <a:gd name="T13" fmla="*/ 165 h 691"/>
                <a:gd name="T14" fmla="*/ 606 w 699"/>
                <a:gd name="T15" fmla="*/ 109 h 691"/>
                <a:gd name="T16" fmla="*/ 540 w 699"/>
                <a:gd name="T17" fmla="*/ 101 h 691"/>
                <a:gd name="T18" fmla="*/ 528 w 699"/>
                <a:gd name="T19" fmla="*/ 93 h 691"/>
                <a:gd name="T20" fmla="*/ 509 w 699"/>
                <a:gd name="T21" fmla="*/ 37 h 691"/>
                <a:gd name="T22" fmla="*/ 484 w 699"/>
                <a:gd name="T23" fmla="*/ 34 h 691"/>
                <a:gd name="T24" fmla="*/ 447 w 699"/>
                <a:gd name="T25" fmla="*/ 52 h 691"/>
                <a:gd name="T26" fmla="*/ 417 w 699"/>
                <a:gd name="T27" fmla="*/ 6 h 691"/>
                <a:gd name="T28" fmla="*/ 394 w 699"/>
                <a:gd name="T29" fmla="*/ 1 h 691"/>
                <a:gd name="T30" fmla="*/ 352 w 699"/>
                <a:gd name="T31" fmla="*/ 37 h 691"/>
                <a:gd name="T32" fmla="*/ 322 w 699"/>
                <a:gd name="T33" fmla="*/ 8 h 691"/>
                <a:gd name="T34" fmla="*/ 273 w 699"/>
                <a:gd name="T35" fmla="*/ 16 h 691"/>
                <a:gd name="T36" fmla="*/ 253 w 699"/>
                <a:gd name="T37" fmla="*/ 52 h 691"/>
                <a:gd name="T38" fmla="*/ 217 w 699"/>
                <a:gd name="T39" fmla="*/ 34 h 691"/>
                <a:gd name="T40" fmla="*/ 192 w 699"/>
                <a:gd name="T41" fmla="*/ 37 h 691"/>
                <a:gd name="T42" fmla="*/ 174 w 699"/>
                <a:gd name="T43" fmla="*/ 93 h 691"/>
                <a:gd name="T44" fmla="*/ 110 w 699"/>
                <a:gd name="T45" fmla="*/ 94 h 691"/>
                <a:gd name="T46" fmla="*/ 102 w 699"/>
                <a:gd name="T47" fmla="*/ 159 h 691"/>
                <a:gd name="T48" fmla="*/ 94 w 699"/>
                <a:gd name="T49" fmla="*/ 171 h 691"/>
                <a:gd name="T50" fmla="*/ 39 w 699"/>
                <a:gd name="T51" fmla="*/ 186 h 691"/>
                <a:gd name="T52" fmla="*/ 34 w 699"/>
                <a:gd name="T53" fmla="*/ 215 h 691"/>
                <a:gd name="T54" fmla="*/ 53 w 699"/>
                <a:gd name="T55" fmla="*/ 252 h 691"/>
                <a:gd name="T56" fmla="*/ 5 w 699"/>
                <a:gd name="T57" fmla="*/ 280 h 691"/>
                <a:gd name="T58" fmla="*/ 1 w 699"/>
                <a:gd name="T59" fmla="*/ 304 h 691"/>
                <a:gd name="T60" fmla="*/ 39 w 699"/>
                <a:gd name="T61" fmla="*/ 345 h 691"/>
                <a:gd name="T62" fmla="*/ 8 w 699"/>
                <a:gd name="T63" fmla="*/ 374 h 691"/>
                <a:gd name="T64" fmla="*/ 16 w 699"/>
                <a:gd name="T65" fmla="*/ 423 h 691"/>
                <a:gd name="T66" fmla="*/ 54 w 699"/>
                <a:gd name="T67" fmla="*/ 443 h 691"/>
                <a:gd name="T68" fmla="*/ 33 w 699"/>
                <a:gd name="T69" fmla="*/ 496 h 691"/>
                <a:gd name="T70" fmla="*/ 94 w 699"/>
                <a:gd name="T71" fmla="*/ 521 h 691"/>
                <a:gd name="T72" fmla="*/ 102 w 699"/>
                <a:gd name="T73" fmla="*/ 533 h 691"/>
                <a:gd name="T74" fmla="*/ 110 w 699"/>
                <a:gd name="T75" fmla="*/ 600 h 691"/>
                <a:gd name="T76" fmla="*/ 167 w 699"/>
                <a:gd name="T77" fmla="*/ 596 h 691"/>
                <a:gd name="T78" fmla="*/ 173 w 699"/>
                <a:gd name="T79" fmla="*/ 635 h 691"/>
                <a:gd name="T80" fmla="*/ 193 w 699"/>
                <a:gd name="T81" fmla="*/ 657 h 691"/>
                <a:gd name="T82" fmla="*/ 245 w 699"/>
                <a:gd name="T83" fmla="*/ 638 h 691"/>
                <a:gd name="T84" fmla="*/ 261 w 699"/>
                <a:gd name="T85" fmla="*/ 642 h 691"/>
                <a:gd name="T86" fmla="*/ 307 w 699"/>
                <a:gd name="T87" fmla="*/ 691 h 691"/>
                <a:gd name="T88" fmla="*/ 358 w 699"/>
                <a:gd name="T89" fmla="*/ 655 h 691"/>
                <a:gd name="T90" fmla="*/ 394 w 699"/>
                <a:gd name="T91" fmla="*/ 691 h 691"/>
                <a:gd name="T92" fmla="*/ 440 w 699"/>
                <a:gd name="T93" fmla="*/ 642 h 691"/>
                <a:gd name="T94" fmla="*/ 454 w 699"/>
                <a:gd name="T95" fmla="*/ 637 h 691"/>
                <a:gd name="T96" fmla="*/ 508 w 699"/>
                <a:gd name="T97" fmla="*/ 657 h 691"/>
                <a:gd name="T98" fmla="*/ 528 w 699"/>
                <a:gd name="T99" fmla="*/ 636 h 691"/>
                <a:gd name="T100" fmla="*/ 539 w 699"/>
                <a:gd name="T101" fmla="*/ 592 h 691"/>
                <a:gd name="T102" fmla="*/ 606 w 699"/>
                <a:gd name="T103" fmla="*/ 584 h 691"/>
                <a:gd name="T104" fmla="*/ 602 w 699"/>
                <a:gd name="T105" fmla="*/ 528 h 691"/>
                <a:gd name="T106" fmla="*/ 643 w 699"/>
                <a:gd name="T107" fmla="*/ 522 h 691"/>
                <a:gd name="T108" fmla="*/ 667 w 699"/>
                <a:gd name="T109" fmla="*/ 478 h 691"/>
                <a:gd name="T110" fmla="*/ 648 w 699"/>
                <a:gd name="T111" fmla="*/ 441 h 691"/>
                <a:gd name="T112" fmla="*/ 696 w 699"/>
                <a:gd name="T113" fmla="*/ 410 h 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99" h="691">
                  <a:moveTo>
                    <a:pt x="692" y="374"/>
                  </a:moveTo>
                  <a:cubicBezTo>
                    <a:pt x="662" y="354"/>
                    <a:pt x="662" y="354"/>
                    <a:pt x="662" y="354"/>
                  </a:cubicBezTo>
                  <a:cubicBezTo>
                    <a:pt x="662" y="347"/>
                    <a:pt x="662" y="347"/>
                    <a:pt x="662" y="347"/>
                  </a:cubicBezTo>
                  <a:cubicBezTo>
                    <a:pt x="662" y="346"/>
                    <a:pt x="662" y="346"/>
                    <a:pt x="662" y="345"/>
                  </a:cubicBezTo>
                  <a:cubicBezTo>
                    <a:pt x="662" y="339"/>
                    <a:pt x="662" y="339"/>
                    <a:pt x="662" y="339"/>
                  </a:cubicBezTo>
                  <a:cubicBezTo>
                    <a:pt x="691" y="320"/>
                    <a:pt x="691" y="320"/>
                    <a:pt x="691" y="320"/>
                  </a:cubicBezTo>
                  <a:cubicBezTo>
                    <a:pt x="696" y="316"/>
                    <a:pt x="699" y="310"/>
                    <a:pt x="698" y="304"/>
                  </a:cubicBezTo>
                  <a:cubicBezTo>
                    <a:pt x="696" y="282"/>
                    <a:pt x="696" y="282"/>
                    <a:pt x="696" y="282"/>
                  </a:cubicBezTo>
                  <a:cubicBezTo>
                    <a:pt x="695" y="276"/>
                    <a:pt x="691" y="271"/>
                    <a:pt x="684" y="269"/>
                  </a:cubicBezTo>
                  <a:cubicBezTo>
                    <a:pt x="650" y="259"/>
                    <a:pt x="650" y="259"/>
                    <a:pt x="650" y="259"/>
                  </a:cubicBezTo>
                  <a:cubicBezTo>
                    <a:pt x="650" y="259"/>
                    <a:pt x="650" y="259"/>
                    <a:pt x="650" y="258"/>
                  </a:cubicBezTo>
                  <a:cubicBezTo>
                    <a:pt x="645" y="243"/>
                    <a:pt x="645" y="243"/>
                    <a:pt x="645" y="243"/>
                  </a:cubicBezTo>
                  <a:cubicBezTo>
                    <a:pt x="667" y="215"/>
                    <a:pt x="667" y="215"/>
                    <a:pt x="667" y="215"/>
                  </a:cubicBezTo>
                  <a:cubicBezTo>
                    <a:pt x="671" y="211"/>
                    <a:pt x="671" y="204"/>
                    <a:pt x="668" y="198"/>
                  </a:cubicBezTo>
                  <a:cubicBezTo>
                    <a:pt x="663" y="188"/>
                    <a:pt x="663" y="188"/>
                    <a:pt x="663" y="188"/>
                  </a:cubicBezTo>
                  <a:cubicBezTo>
                    <a:pt x="663" y="187"/>
                    <a:pt x="663" y="187"/>
                    <a:pt x="662" y="186"/>
                  </a:cubicBezTo>
                  <a:cubicBezTo>
                    <a:pt x="657" y="179"/>
                    <a:pt x="657" y="179"/>
                    <a:pt x="657" y="179"/>
                  </a:cubicBezTo>
                  <a:cubicBezTo>
                    <a:pt x="654" y="174"/>
                    <a:pt x="649" y="171"/>
                    <a:pt x="644" y="171"/>
                  </a:cubicBezTo>
                  <a:cubicBezTo>
                    <a:pt x="607" y="171"/>
                    <a:pt x="607" y="171"/>
                    <a:pt x="607" y="171"/>
                  </a:cubicBezTo>
                  <a:cubicBezTo>
                    <a:pt x="603" y="165"/>
                    <a:pt x="603" y="165"/>
                    <a:pt x="603" y="165"/>
                  </a:cubicBezTo>
                  <a:cubicBezTo>
                    <a:pt x="603" y="165"/>
                    <a:pt x="602" y="165"/>
                    <a:pt x="602" y="165"/>
                  </a:cubicBezTo>
                  <a:cubicBezTo>
                    <a:pt x="599" y="160"/>
                    <a:pt x="599" y="160"/>
                    <a:pt x="599" y="160"/>
                  </a:cubicBezTo>
                  <a:cubicBezTo>
                    <a:pt x="610" y="126"/>
                    <a:pt x="610" y="126"/>
                    <a:pt x="610" y="126"/>
                  </a:cubicBezTo>
                  <a:cubicBezTo>
                    <a:pt x="612" y="120"/>
                    <a:pt x="610" y="113"/>
                    <a:pt x="606" y="109"/>
                  </a:cubicBezTo>
                  <a:cubicBezTo>
                    <a:pt x="591" y="94"/>
                    <a:pt x="591" y="94"/>
                    <a:pt x="591" y="94"/>
                  </a:cubicBezTo>
                  <a:cubicBezTo>
                    <a:pt x="586" y="89"/>
                    <a:pt x="580" y="88"/>
                    <a:pt x="574" y="90"/>
                  </a:cubicBezTo>
                  <a:cubicBezTo>
                    <a:pt x="540" y="101"/>
                    <a:pt x="540" y="101"/>
                    <a:pt x="540" y="101"/>
                  </a:cubicBezTo>
                  <a:cubicBezTo>
                    <a:pt x="540" y="101"/>
                    <a:pt x="539" y="101"/>
                    <a:pt x="539" y="100"/>
                  </a:cubicBezTo>
                  <a:cubicBezTo>
                    <a:pt x="533" y="97"/>
                    <a:pt x="533" y="97"/>
                    <a:pt x="533" y="97"/>
                  </a:cubicBezTo>
                  <a:cubicBezTo>
                    <a:pt x="528" y="93"/>
                    <a:pt x="528" y="93"/>
                    <a:pt x="528" y="93"/>
                  </a:cubicBezTo>
                  <a:cubicBezTo>
                    <a:pt x="528" y="56"/>
                    <a:pt x="528" y="56"/>
                    <a:pt x="528" y="56"/>
                  </a:cubicBezTo>
                  <a:cubicBezTo>
                    <a:pt x="528" y="50"/>
                    <a:pt x="525" y="44"/>
                    <a:pt x="519" y="42"/>
                  </a:cubicBezTo>
                  <a:cubicBezTo>
                    <a:pt x="509" y="37"/>
                    <a:pt x="509" y="37"/>
                    <a:pt x="509" y="37"/>
                  </a:cubicBezTo>
                  <a:cubicBezTo>
                    <a:pt x="509" y="36"/>
                    <a:pt x="509" y="36"/>
                    <a:pt x="508" y="36"/>
                  </a:cubicBezTo>
                  <a:cubicBezTo>
                    <a:pt x="499" y="32"/>
                    <a:pt x="499" y="32"/>
                    <a:pt x="499" y="32"/>
                  </a:cubicBezTo>
                  <a:cubicBezTo>
                    <a:pt x="494" y="30"/>
                    <a:pt x="488" y="31"/>
                    <a:pt x="484" y="34"/>
                  </a:cubicBezTo>
                  <a:cubicBezTo>
                    <a:pt x="454" y="55"/>
                    <a:pt x="454" y="55"/>
                    <a:pt x="454" y="55"/>
                  </a:cubicBezTo>
                  <a:cubicBezTo>
                    <a:pt x="449" y="53"/>
                    <a:pt x="449" y="53"/>
                    <a:pt x="449" y="53"/>
                  </a:cubicBezTo>
                  <a:cubicBezTo>
                    <a:pt x="448" y="52"/>
                    <a:pt x="447" y="52"/>
                    <a:pt x="447" y="52"/>
                  </a:cubicBezTo>
                  <a:cubicBezTo>
                    <a:pt x="440" y="50"/>
                    <a:pt x="440" y="50"/>
                    <a:pt x="440" y="50"/>
                  </a:cubicBezTo>
                  <a:cubicBezTo>
                    <a:pt x="428" y="16"/>
                    <a:pt x="428" y="16"/>
                    <a:pt x="428" y="16"/>
                  </a:cubicBezTo>
                  <a:cubicBezTo>
                    <a:pt x="427" y="11"/>
                    <a:pt x="422" y="7"/>
                    <a:pt x="417" y="6"/>
                  </a:cubicBezTo>
                  <a:cubicBezTo>
                    <a:pt x="407" y="3"/>
                    <a:pt x="407" y="3"/>
                    <a:pt x="407" y="3"/>
                  </a:cubicBezTo>
                  <a:cubicBezTo>
                    <a:pt x="406" y="3"/>
                    <a:pt x="405" y="3"/>
                    <a:pt x="405" y="3"/>
                  </a:cubicBezTo>
                  <a:cubicBezTo>
                    <a:pt x="394" y="1"/>
                    <a:pt x="394" y="1"/>
                    <a:pt x="394" y="1"/>
                  </a:cubicBezTo>
                  <a:cubicBezTo>
                    <a:pt x="388" y="1"/>
                    <a:pt x="383" y="3"/>
                    <a:pt x="379" y="8"/>
                  </a:cubicBezTo>
                  <a:cubicBezTo>
                    <a:pt x="359" y="38"/>
                    <a:pt x="359" y="38"/>
                    <a:pt x="359" y="38"/>
                  </a:cubicBezTo>
                  <a:cubicBezTo>
                    <a:pt x="352" y="37"/>
                    <a:pt x="352" y="37"/>
                    <a:pt x="352" y="37"/>
                  </a:cubicBezTo>
                  <a:cubicBezTo>
                    <a:pt x="352" y="37"/>
                    <a:pt x="351" y="37"/>
                    <a:pt x="350" y="37"/>
                  </a:cubicBezTo>
                  <a:cubicBezTo>
                    <a:pt x="342" y="38"/>
                    <a:pt x="342" y="38"/>
                    <a:pt x="342" y="38"/>
                  </a:cubicBezTo>
                  <a:cubicBezTo>
                    <a:pt x="322" y="8"/>
                    <a:pt x="322" y="8"/>
                    <a:pt x="322" y="8"/>
                  </a:cubicBezTo>
                  <a:cubicBezTo>
                    <a:pt x="318" y="3"/>
                    <a:pt x="312" y="0"/>
                    <a:pt x="306" y="2"/>
                  </a:cubicBezTo>
                  <a:cubicBezTo>
                    <a:pt x="285" y="5"/>
                    <a:pt x="285" y="5"/>
                    <a:pt x="285" y="5"/>
                  </a:cubicBezTo>
                  <a:cubicBezTo>
                    <a:pt x="279" y="7"/>
                    <a:pt x="275" y="11"/>
                    <a:pt x="273" y="16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1" y="50"/>
                    <a:pt x="261" y="50"/>
                    <a:pt x="261" y="50"/>
                  </a:cubicBezTo>
                  <a:cubicBezTo>
                    <a:pt x="253" y="52"/>
                    <a:pt x="253" y="52"/>
                    <a:pt x="253" y="52"/>
                  </a:cubicBezTo>
                  <a:cubicBezTo>
                    <a:pt x="253" y="52"/>
                    <a:pt x="253" y="53"/>
                    <a:pt x="253" y="53"/>
                  </a:cubicBezTo>
                  <a:cubicBezTo>
                    <a:pt x="247" y="55"/>
                    <a:pt x="247" y="55"/>
                    <a:pt x="247" y="55"/>
                  </a:cubicBezTo>
                  <a:cubicBezTo>
                    <a:pt x="217" y="34"/>
                    <a:pt x="217" y="34"/>
                    <a:pt x="217" y="34"/>
                  </a:cubicBezTo>
                  <a:cubicBezTo>
                    <a:pt x="213" y="31"/>
                    <a:pt x="207" y="30"/>
                    <a:pt x="202" y="32"/>
                  </a:cubicBezTo>
                  <a:cubicBezTo>
                    <a:pt x="193" y="36"/>
                    <a:pt x="193" y="36"/>
                    <a:pt x="193" y="36"/>
                  </a:cubicBezTo>
                  <a:cubicBezTo>
                    <a:pt x="192" y="36"/>
                    <a:pt x="192" y="36"/>
                    <a:pt x="192" y="37"/>
                  </a:cubicBezTo>
                  <a:cubicBezTo>
                    <a:pt x="181" y="42"/>
                    <a:pt x="181" y="42"/>
                    <a:pt x="181" y="42"/>
                  </a:cubicBezTo>
                  <a:cubicBezTo>
                    <a:pt x="176" y="45"/>
                    <a:pt x="172" y="50"/>
                    <a:pt x="173" y="57"/>
                  </a:cubicBezTo>
                  <a:cubicBezTo>
                    <a:pt x="174" y="93"/>
                    <a:pt x="174" y="93"/>
                    <a:pt x="174" y="93"/>
                  </a:cubicBezTo>
                  <a:cubicBezTo>
                    <a:pt x="162" y="101"/>
                    <a:pt x="162" y="101"/>
                    <a:pt x="162" y="101"/>
                  </a:cubicBezTo>
                  <a:cubicBezTo>
                    <a:pt x="127" y="90"/>
                    <a:pt x="127" y="90"/>
                    <a:pt x="127" y="90"/>
                  </a:cubicBezTo>
                  <a:cubicBezTo>
                    <a:pt x="121" y="88"/>
                    <a:pt x="115" y="89"/>
                    <a:pt x="110" y="94"/>
                  </a:cubicBezTo>
                  <a:cubicBezTo>
                    <a:pt x="95" y="109"/>
                    <a:pt x="95" y="109"/>
                    <a:pt x="95" y="109"/>
                  </a:cubicBezTo>
                  <a:cubicBezTo>
                    <a:pt x="90" y="113"/>
                    <a:pt x="89" y="120"/>
                    <a:pt x="91" y="126"/>
                  </a:cubicBezTo>
                  <a:cubicBezTo>
                    <a:pt x="102" y="159"/>
                    <a:pt x="102" y="159"/>
                    <a:pt x="102" y="159"/>
                  </a:cubicBezTo>
                  <a:cubicBezTo>
                    <a:pt x="102" y="159"/>
                    <a:pt x="102" y="160"/>
                    <a:pt x="101" y="160"/>
                  </a:cubicBezTo>
                  <a:cubicBezTo>
                    <a:pt x="98" y="166"/>
                    <a:pt x="98" y="166"/>
                    <a:pt x="98" y="166"/>
                  </a:cubicBezTo>
                  <a:cubicBezTo>
                    <a:pt x="94" y="171"/>
                    <a:pt x="94" y="171"/>
                    <a:pt x="94" y="171"/>
                  </a:cubicBezTo>
                  <a:cubicBezTo>
                    <a:pt x="57" y="171"/>
                    <a:pt x="57" y="171"/>
                    <a:pt x="57" y="171"/>
                  </a:cubicBezTo>
                  <a:cubicBezTo>
                    <a:pt x="52" y="171"/>
                    <a:pt x="47" y="174"/>
                    <a:pt x="44" y="179"/>
                  </a:cubicBezTo>
                  <a:cubicBezTo>
                    <a:pt x="39" y="186"/>
                    <a:pt x="39" y="186"/>
                    <a:pt x="39" y="186"/>
                  </a:cubicBezTo>
                  <a:cubicBezTo>
                    <a:pt x="38" y="187"/>
                    <a:pt x="38" y="187"/>
                    <a:pt x="38" y="188"/>
                  </a:cubicBezTo>
                  <a:cubicBezTo>
                    <a:pt x="32" y="198"/>
                    <a:pt x="32" y="198"/>
                    <a:pt x="32" y="198"/>
                  </a:cubicBezTo>
                  <a:cubicBezTo>
                    <a:pt x="30" y="204"/>
                    <a:pt x="30" y="211"/>
                    <a:pt x="34" y="215"/>
                  </a:cubicBezTo>
                  <a:cubicBezTo>
                    <a:pt x="56" y="243"/>
                    <a:pt x="56" y="243"/>
                    <a:pt x="56" y="243"/>
                  </a:cubicBezTo>
                  <a:cubicBezTo>
                    <a:pt x="53" y="251"/>
                    <a:pt x="53" y="251"/>
                    <a:pt x="53" y="251"/>
                  </a:cubicBezTo>
                  <a:cubicBezTo>
                    <a:pt x="53" y="251"/>
                    <a:pt x="53" y="252"/>
                    <a:pt x="53" y="252"/>
                  </a:cubicBezTo>
                  <a:cubicBezTo>
                    <a:pt x="52" y="258"/>
                    <a:pt x="52" y="258"/>
                    <a:pt x="52" y="258"/>
                  </a:cubicBezTo>
                  <a:cubicBezTo>
                    <a:pt x="17" y="269"/>
                    <a:pt x="17" y="269"/>
                    <a:pt x="17" y="269"/>
                  </a:cubicBezTo>
                  <a:cubicBezTo>
                    <a:pt x="11" y="270"/>
                    <a:pt x="7" y="275"/>
                    <a:pt x="5" y="280"/>
                  </a:cubicBezTo>
                  <a:cubicBezTo>
                    <a:pt x="3" y="291"/>
                    <a:pt x="3" y="291"/>
                    <a:pt x="3" y="291"/>
                  </a:cubicBezTo>
                  <a:cubicBezTo>
                    <a:pt x="3" y="291"/>
                    <a:pt x="3" y="292"/>
                    <a:pt x="2" y="293"/>
                  </a:cubicBezTo>
                  <a:cubicBezTo>
                    <a:pt x="1" y="304"/>
                    <a:pt x="1" y="304"/>
                    <a:pt x="1" y="304"/>
                  </a:cubicBezTo>
                  <a:cubicBezTo>
                    <a:pt x="1" y="310"/>
                    <a:pt x="3" y="316"/>
                    <a:pt x="9" y="320"/>
                  </a:cubicBezTo>
                  <a:cubicBezTo>
                    <a:pt x="39" y="339"/>
                    <a:pt x="39" y="339"/>
                    <a:pt x="39" y="339"/>
                  </a:cubicBezTo>
                  <a:cubicBezTo>
                    <a:pt x="39" y="345"/>
                    <a:pt x="39" y="345"/>
                    <a:pt x="39" y="345"/>
                  </a:cubicBezTo>
                  <a:cubicBezTo>
                    <a:pt x="38" y="346"/>
                    <a:pt x="38" y="346"/>
                    <a:pt x="39" y="347"/>
                  </a:cubicBezTo>
                  <a:cubicBezTo>
                    <a:pt x="39" y="353"/>
                    <a:pt x="39" y="353"/>
                    <a:pt x="39" y="353"/>
                  </a:cubicBezTo>
                  <a:cubicBezTo>
                    <a:pt x="8" y="374"/>
                    <a:pt x="8" y="374"/>
                    <a:pt x="8" y="374"/>
                  </a:cubicBezTo>
                  <a:cubicBezTo>
                    <a:pt x="3" y="377"/>
                    <a:pt x="0" y="384"/>
                    <a:pt x="1" y="390"/>
                  </a:cubicBezTo>
                  <a:cubicBezTo>
                    <a:pt x="5" y="411"/>
                    <a:pt x="5" y="411"/>
                    <a:pt x="5" y="411"/>
                  </a:cubicBezTo>
                  <a:cubicBezTo>
                    <a:pt x="6" y="417"/>
                    <a:pt x="10" y="421"/>
                    <a:pt x="16" y="423"/>
                  </a:cubicBezTo>
                  <a:cubicBezTo>
                    <a:pt x="52" y="435"/>
                    <a:pt x="52" y="435"/>
                    <a:pt x="52" y="435"/>
                  </a:cubicBezTo>
                  <a:cubicBezTo>
                    <a:pt x="53" y="440"/>
                    <a:pt x="53" y="440"/>
                    <a:pt x="53" y="440"/>
                  </a:cubicBezTo>
                  <a:cubicBezTo>
                    <a:pt x="53" y="441"/>
                    <a:pt x="53" y="442"/>
                    <a:pt x="54" y="443"/>
                  </a:cubicBezTo>
                  <a:cubicBezTo>
                    <a:pt x="56" y="449"/>
                    <a:pt x="56" y="449"/>
                    <a:pt x="56" y="449"/>
                  </a:cubicBezTo>
                  <a:cubicBezTo>
                    <a:pt x="34" y="478"/>
                    <a:pt x="34" y="478"/>
                    <a:pt x="34" y="478"/>
                  </a:cubicBezTo>
                  <a:cubicBezTo>
                    <a:pt x="30" y="483"/>
                    <a:pt x="30" y="490"/>
                    <a:pt x="33" y="496"/>
                  </a:cubicBezTo>
                  <a:cubicBezTo>
                    <a:pt x="43" y="514"/>
                    <a:pt x="43" y="514"/>
                    <a:pt x="43" y="514"/>
                  </a:cubicBezTo>
                  <a:cubicBezTo>
                    <a:pt x="46" y="519"/>
                    <a:pt x="52" y="522"/>
                    <a:pt x="58" y="522"/>
                  </a:cubicBezTo>
                  <a:cubicBezTo>
                    <a:pt x="94" y="521"/>
                    <a:pt x="94" y="521"/>
                    <a:pt x="94" y="521"/>
                  </a:cubicBezTo>
                  <a:cubicBezTo>
                    <a:pt x="98" y="527"/>
                    <a:pt x="98" y="527"/>
                    <a:pt x="98" y="527"/>
                  </a:cubicBezTo>
                  <a:cubicBezTo>
                    <a:pt x="98" y="528"/>
                    <a:pt x="98" y="528"/>
                    <a:pt x="99" y="529"/>
                  </a:cubicBezTo>
                  <a:cubicBezTo>
                    <a:pt x="102" y="533"/>
                    <a:pt x="102" y="533"/>
                    <a:pt x="102" y="533"/>
                  </a:cubicBezTo>
                  <a:cubicBezTo>
                    <a:pt x="91" y="568"/>
                    <a:pt x="91" y="568"/>
                    <a:pt x="91" y="568"/>
                  </a:cubicBezTo>
                  <a:cubicBezTo>
                    <a:pt x="89" y="573"/>
                    <a:pt x="90" y="580"/>
                    <a:pt x="95" y="584"/>
                  </a:cubicBezTo>
                  <a:cubicBezTo>
                    <a:pt x="110" y="600"/>
                    <a:pt x="110" y="600"/>
                    <a:pt x="110" y="600"/>
                  </a:cubicBezTo>
                  <a:cubicBezTo>
                    <a:pt x="115" y="604"/>
                    <a:pt x="121" y="605"/>
                    <a:pt x="127" y="603"/>
                  </a:cubicBezTo>
                  <a:cubicBezTo>
                    <a:pt x="162" y="592"/>
                    <a:pt x="162" y="592"/>
                    <a:pt x="162" y="592"/>
                  </a:cubicBezTo>
                  <a:cubicBezTo>
                    <a:pt x="167" y="596"/>
                    <a:pt x="167" y="596"/>
                    <a:pt x="167" y="596"/>
                  </a:cubicBezTo>
                  <a:cubicBezTo>
                    <a:pt x="167" y="596"/>
                    <a:pt x="168" y="596"/>
                    <a:pt x="168" y="596"/>
                  </a:cubicBezTo>
                  <a:cubicBezTo>
                    <a:pt x="174" y="600"/>
                    <a:pt x="174" y="600"/>
                    <a:pt x="174" y="600"/>
                  </a:cubicBezTo>
                  <a:cubicBezTo>
                    <a:pt x="173" y="635"/>
                    <a:pt x="173" y="635"/>
                    <a:pt x="173" y="635"/>
                  </a:cubicBezTo>
                  <a:cubicBezTo>
                    <a:pt x="172" y="641"/>
                    <a:pt x="175" y="647"/>
                    <a:pt x="180" y="650"/>
                  </a:cubicBezTo>
                  <a:cubicBezTo>
                    <a:pt x="190" y="656"/>
                    <a:pt x="190" y="656"/>
                    <a:pt x="190" y="656"/>
                  </a:cubicBezTo>
                  <a:cubicBezTo>
                    <a:pt x="191" y="656"/>
                    <a:pt x="192" y="657"/>
                    <a:pt x="193" y="657"/>
                  </a:cubicBezTo>
                  <a:cubicBezTo>
                    <a:pt x="202" y="661"/>
                    <a:pt x="202" y="661"/>
                    <a:pt x="202" y="661"/>
                  </a:cubicBezTo>
                  <a:cubicBezTo>
                    <a:pt x="207" y="663"/>
                    <a:pt x="213" y="663"/>
                    <a:pt x="218" y="659"/>
                  </a:cubicBezTo>
                  <a:cubicBezTo>
                    <a:pt x="245" y="638"/>
                    <a:pt x="245" y="638"/>
                    <a:pt x="245" y="638"/>
                  </a:cubicBezTo>
                  <a:cubicBezTo>
                    <a:pt x="246" y="639"/>
                    <a:pt x="247" y="639"/>
                    <a:pt x="248" y="639"/>
                  </a:cubicBezTo>
                  <a:cubicBezTo>
                    <a:pt x="254" y="640"/>
                    <a:pt x="254" y="640"/>
                    <a:pt x="254" y="640"/>
                  </a:cubicBezTo>
                  <a:cubicBezTo>
                    <a:pt x="261" y="642"/>
                    <a:pt x="261" y="642"/>
                    <a:pt x="261" y="642"/>
                  </a:cubicBezTo>
                  <a:cubicBezTo>
                    <a:pt x="273" y="677"/>
                    <a:pt x="273" y="677"/>
                    <a:pt x="273" y="677"/>
                  </a:cubicBezTo>
                  <a:cubicBezTo>
                    <a:pt x="275" y="683"/>
                    <a:pt x="280" y="687"/>
                    <a:pt x="286" y="688"/>
                  </a:cubicBezTo>
                  <a:cubicBezTo>
                    <a:pt x="307" y="691"/>
                    <a:pt x="307" y="691"/>
                    <a:pt x="307" y="691"/>
                  </a:cubicBezTo>
                  <a:cubicBezTo>
                    <a:pt x="312" y="691"/>
                    <a:pt x="318" y="689"/>
                    <a:pt x="322" y="684"/>
                  </a:cubicBezTo>
                  <a:cubicBezTo>
                    <a:pt x="343" y="655"/>
                    <a:pt x="343" y="655"/>
                    <a:pt x="343" y="655"/>
                  </a:cubicBezTo>
                  <a:cubicBezTo>
                    <a:pt x="358" y="655"/>
                    <a:pt x="358" y="655"/>
                    <a:pt x="358" y="655"/>
                  </a:cubicBezTo>
                  <a:cubicBezTo>
                    <a:pt x="379" y="684"/>
                    <a:pt x="379" y="684"/>
                    <a:pt x="379" y="684"/>
                  </a:cubicBezTo>
                  <a:cubicBezTo>
                    <a:pt x="382" y="688"/>
                    <a:pt x="387" y="691"/>
                    <a:pt x="392" y="691"/>
                  </a:cubicBezTo>
                  <a:cubicBezTo>
                    <a:pt x="393" y="691"/>
                    <a:pt x="394" y="691"/>
                    <a:pt x="394" y="691"/>
                  </a:cubicBezTo>
                  <a:cubicBezTo>
                    <a:pt x="415" y="688"/>
                    <a:pt x="415" y="688"/>
                    <a:pt x="415" y="688"/>
                  </a:cubicBezTo>
                  <a:cubicBezTo>
                    <a:pt x="421" y="687"/>
                    <a:pt x="426" y="683"/>
                    <a:pt x="428" y="677"/>
                  </a:cubicBezTo>
                  <a:cubicBezTo>
                    <a:pt x="440" y="642"/>
                    <a:pt x="440" y="642"/>
                    <a:pt x="440" y="642"/>
                  </a:cubicBezTo>
                  <a:cubicBezTo>
                    <a:pt x="448" y="640"/>
                    <a:pt x="448" y="640"/>
                    <a:pt x="448" y="640"/>
                  </a:cubicBezTo>
                  <a:cubicBezTo>
                    <a:pt x="448" y="640"/>
                    <a:pt x="448" y="639"/>
                    <a:pt x="448" y="639"/>
                  </a:cubicBezTo>
                  <a:cubicBezTo>
                    <a:pt x="454" y="637"/>
                    <a:pt x="454" y="637"/>
                    <a:pt x="454" y="637"/>
                  </a:cubicBezTo>
                  <a:cubicBezTo>
                    <a:pt x="483" y="659"/>
                    <a:pt x="483" y="659"/>
                    <a:pt x="483" y="659"/>
                  </a:cubicBezTo>
                  <a:cubicBezTo>
                    <a:pt x="488" y="663"/>
                    <a:pt x="494" y="663"/>
                    <a:pt x="499" y="661"/>
                  </a:cubicBezTo>
                  <a:cubicBezTo>
                    <a:pt x="508" y="657"/>
                    <a:pt x="508" y="657"/>
                    <a:pt x="508" y="657"/>
                  </a:cubicBezTo>
                  <a:cubicBezTo>
                    <a:pt x="509" y="657"/>
                    <a:pt x="510" y="656"/>
                    <a:pt x="510" y="656"/>
                  </a:cubicBezTo>
                  <a:cubicBezTo>
                    <a:pt x="521" y="650"/>
                    <a:pt x="521" y="650"/>
                    <a:pt x="521" y="650"/>
                  </a:cubicBezTo>
                  <a:cubicBezTo>
                    <a:pt x="525" y="647"/>
                    <a:pt x="528" y="641"/>
                    <a:pt x="528" y="636"/>
                  </a:cubicBezTo>
                  <a:cubicBezTo>
                    <a:pt x="528" y="600"/>
                    <a:pt x="528" y="600"/>
                    <a:pt x="528" y="600"/>
                  </a:cubicBezTo>
                  <a:cubicBezTo>
                    <a:pt x="533" y="596"/>
                    <a:pt x="533" y="596"/>
                    <a:pt x="533" y="596"/>
                  </a:cubicBezTo>
                  <a:cubicBezTo>
                    <a:pt x="539" y="592"/>
                    <a:pt x="539" y="592"/>
                    <a:pt x="539" y="592"/>
                  </a:cubicBezTo>
                  <a:cubicBezTo>
                    <a:pt x="574" y="603"/>
                    <a:pt x="574" y="603"/>
                    <a:pt x="574" y="603"/>
                  </a:cubicBezTo>
                  <a:cubicBezTo>
                    <a:pt x="580" y="605"/>
                    <a:pt x="586" y="604"/>
                    <a:pt x="591" y="600"/>
                  </a:cubicBezTo>
                  <a:cubicBezTo>
                    <a:pt x="606" y="584"/>
                    <a:pt x="606" y="584"/>
                    <a:pt x="606" y="584"/>
                  </a:cubicBezTo>
                  <a:cubicBezTo>
                    <a:pt x="610" y="580"/>
                    <a:pt x="612" y="573"/>
                    <a:pt x="610" y="568"/>
                  </a:cubicBezTo>
                  <a:cubicBezTo>
                    <a:pt x="599" y="533"/>
                    <a:pt x="599" y="533"/>
                    <a:pt x="599" y="533"/>
                  </a:cubicBezTo>
                  <a:cubicBezTo>
                    <a:pt x="602" y="528"/>
                    <a:pt x="602" y="528"/>
                    <a:pt x="602" y="528"/>
                  </a:cubicBezTo>
                  <a:cubicBezTo>
                    <a:pt x="603" y="528"/>
                    <a:pt x="603" y="528"/>
                    <a:pt x="603" y="527"/>
                  </a:cubicBezTo>
                  <a:cubicBezTo>
                    <a:pt x="607" y="521"/>
                    <a:pt x="607" y="521"/>
                    <a:pt x="607" y="521"/>
                  </a:cubicBezTo>
                  <a:cubicBezTo>
                    <a:pt x="643" y="522"/>
                    <a:pt x="643" y="522"/>
                    <a:pt x="643" y="522"/>
                  </a:cubicBezTo>
                  <a:cubicBezTo>
                    <a:pt x="649" y="522"/>
                    <a:pt x="655" y="519"/>
                    <a:pt x="658" y="514"/>
                  </a:cubicBezTo>
                  <a:cubicBezTo>
                    <a:pt x="668" y="496"/>
                    <a:pt x="668" y="496"/>
                    <a:pt x="668" y="496"/>
                  </a:cubicBezTo>
                  <a:cubicBezTo>
                    <a:pt x="671" y="490"/>
                    <a:pt x="671" y="483"/>
                    <a:pt x="667" y="478"/>
                  </a:cubicBezTo>
                  <a:cubicBezTo>
                    <a:pt x="645" y="449"/>
                    <a:pt x="645" y="449"/>
                    <a:pt x="645" y="449"/>
                  </a:cubicBezTo>
                  <a:cubicBezTo>
                    <a:pt x="647" y="443"/>
                    <a:pt x="647" y="443"/>
                    <a:pt x="647" y="443"/>
                  </a:cubicBezTo>
                  <a:cubicBezTo>
                    <a:pt x="647" y="443"/>
                    <a:pt x="648" y="442"/>
                    <a:pt x="648" y="441"/>
                  </a:cubicBezTo>
                  <a:cubicBezTo>
                    <a:pt x="649" y="435"/>
                    <a:pt x="649" y="435"/>
                    <a:pt x="649" y="435"/>
                  </a:cubicBezTo>
                  <a:cubicBezTo>
                    <a:pt x="685" y="423"/>
                    <a:pt x="685" y="423"/>
                    <a:pt x="685" y="423"/>
                  </a:cubicBezTo>
                  <a:cubicBezTo>
                    <a:pt x="691" y="421"/>
                    <a:pt x="695" y="416"/>
                    <a:pt x="696" y="410"/>
                  </a:cubicBezTo>
                  <a:cubicBezTo>
                    <a:pt x="698" y="389"/>
                    <a:pt x="698" y="389"/>
                    <a:pt x="698" y="389"/>
                  </a:cubicBezTo>
                  <a:cubicBezTo>
                    <a:pt x="699" y="383"/>
                    <a:pt x="697" y="377"/>
                    <a:pt x="692" y="37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CH" sz="1600" dirty="0"/>
            </a:p>
          </p:txBody>
        </p:sp>
        <p:sp>
          <p:nvSpPr>
            <p:cNvPr id="11" name="Oval 15">
              <a:extLst>
                <a:ext uri="{FF2B5EF4-FFF2-40B4-BE49-F238E27FC236}">
                  <a16:creationId xmlns:a16="http://schemas.microsoft.com/office/drawing/2014/main" id="{6B1EBB05-C1AF-4415-92F2-7960FFE0DCC4}"/>
                </a:ext>
              </a:extLst>
            </p:cNvPr>
            <p:cNvSpPr/>
            <p:nvPr/>
          </p:nvSpPr>
          <p:spPr>
            <a:xfrm>
              <a:off x="11696315" y="6362315"/>
              <a:ext cx="359032" cy="35903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</p:grpSp>
    </p:spTree>
    <p:extLst>
      <p:ext uri="{BB962C8B-B14F-4D97-AF65-F5344CB8AC3E}">
        <p14:creationId xmlns:p14="http://schemas.microsoft.com/office/powerpoint/2010/main" val="23294023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5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fr-C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A13FF3-A3B4-402D-91B1-C176C247EB92}" type="datetimeFigureOut">
              <a:rPr lang="fr-CH" smtClean="0"/>
              <a:t>05.04.2019</a:t>
            </a:fld>
            <a:endParaRPr lang="fr-CH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107053-0274-46BF-A48C-B751F6C03B80}" type="slidenum">
              <a:rPr lang="fr-CH" smtClean="0"/>
              <a:t>‹N°›</a:t>
            </a:fld>
            <a:endParaRPr lang="fr-CH"/>
          </a:p>
        </p:txBody>
      </p:sp>
      <p:sp>
        <p:nvSpPr>
          <p:cNvPr id="7" name="Freeform 6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" name="Freeform 7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9" name="Group 12">
            <a:extLst>
              <a:ext uri="{FF2B5EF4-FFF2-40B4-BE49-F238E27FC236}">
                <a16:creationId xmlns:a16="http://schemas.microsoft.com/office/drawing/2014/main" id="{21198EAB-6AC6-4973-8FF1-FB041001644E}"/>
              </a:ext>
            </a:extLst>
          </p:cNvPr>
          <p:cNvGrpSpPr/>
          <p:nvPr userDrawn="1"/>
        </p:nvGrpSpPr>
        <p:grpSpPr>
          <a:xfrm>
            <a:off x="11588238" y="6254238"/>
            <a:ext cx="575187" cy="575187"/>
            <a:chOff x="11588238" y="6254238"/>
            <a:chExt cx="575187" cy="575187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41316E6D-1E17-4D35-97FB-A38C4D3F1B83}"/>
                </a:ext>
              </a:extLst>
            </p:cNvPr>
            <p:cNvSpPr>
              <a:spLocks/>
            </p:cNvSpPr>
            <p:nvPr>
              <p:custDataLst>
                <p:tags r:id="rId1"/>
              </p:custDataLst>
            </p:nvPr>
          </p:nvSpPr>
          <p:spPr bwMode="gray">
            <a:xfrm>
              <a:off x="11588238" y="6254238"/>
              <a:ext cx="575187" cy="575187"/>
            </a:xfrm>
            <a:custGeom>
              <a:avLst/>
              <a:gdLst>
                <a:gd name="T0" fmla="*/ 662 w 699"/>
                <a:gd name="T1" fmla="*/ 347 h 691"/>
                <a:gd name="T2" fmla="*/ 691 w 699"/>
                <a:gd name="T3" fmla="*/ 320 h 691"/>
                <a:gd name="T4" fmla="*/ 684 w 699"/>
                <a:gd name="T5" fmla="*/ 269 h 691"/>
                <a:gd name="T6" fmla="*/ 645 w 699"/>
                <a:gd name="T7" fmla="*/ 243 h 691"/>
                <a:gd name="T8" fmla="*/ 663 w 699"/>
                <a:gd name="T9" fmla="*/ 188 h 691"/>
                <a:gd name="T10" fmla="*/ 644 w 699"/>
                <a:gd name="T11" fmla="*/ 171 h 691"/>
                <a:gd name="T12" fmla="*/ 602 w 699"/>
                <a:gd name="T13" fmla="*/ 165 h 691"/>
                <a:gd name="T14" fmla="*/ 606 w 699"/>
                <a:gd name="T15" fmla="*/ 109 h 691"/>
                <a:gd name="T16" fmla="*/ 540 w 699"/>
                <a:gd name="T17" fmla="*/ 101 h 691"/>
                <a:gd name="T18" fmla="*/ 528 w 699"/>
                <a:gd name="T19" fmla="*/ 93 h 691"/>
                <a:gd name="T20" fmla="*/ 509 w 699"/>
                <a:gd name="T21" fmla="*/ 37 h 691"/>
                <a:gd name="T22" fmla="*/ 484 w 699"/>
                <a:gd name="T23" fmla="*/ 34 h 691"/>
                <a:gd name="T24" fmla="*/ 447 w 699"/>
                <a:gd name="T25" fmla="*/ 52 h 691"/>
                <a:gd name="T26" fmla="*/ 417 w 699"/>
                <a:gd name="T27" fmla="*/ 6 h 691"/>
                <a:gd name="T28" fmla="*/ 394 w 699"/>
                <a:gd name="T29" fmla="*/ 1 h 691"/>
                <a:gd name="T30" fmla="*/ 352 w 699"/>
                <a:gd name="T31" fmla="*/ 37 h 691"/>
                <a:gd name="T32" fmla="*/ 322 w 699"/>
                <a:gd name="T33" fmla="*/ 8 h 691"/>
                <a:gd name="T34" fmla="*/ 273 w 699"/>
                <a:gd name="T35" fmla="*/ 16 h 691"/>
                <a:gd name="T36" fmla="*/ 253 w 699"/>
                <a:gd name="T37" fmla="*/ 52 h 691"/>
                <a:gd name="T38" fmla="*/ 217 w 699"/>
                <a:gd name="T39" fmla="*/ 34 h 691"/>
                <a:gd name="T40" fmla="*/ 192 w 699"/>
                <a:gd name="T41" fmla="*/ 37 h 691"/>
                <a:gd name="T42" fmla="*/ 174 w 699"/>
                <a:gd name="T43" fmla="*/ 93 h 691"/>
                <a:gd name="T44" fmla="*/ 110 w 699"/>
                <a:gd name="T45" fmla="*/ 94 h 691"/>
                <a:gd name="T46" fmla="*/ 102 w 699"/>
                <a:gd name="T47" fmla="*/ 159 h 691"/>
                <a:gd name="T48" fmla="*/ 94 w 699"/>
                <a:gd name="T49" fmla="*/ 171 h 691"/>
                <a:gd name="T50" fmla="*/ 39 w 699"/>
                <a:gd name="T51" fmla="*/ 186 h 691"/>
                <a:gd name="T52" fmla="*/ 34 w 699"/>
                <a:gd name="T53" fmla="*/ 215 h 691"/>
                <a:gd name="T54" fmla="*/ 53 w 699"/>
                <a:gd name="T55" fmla="*/ 252 h 691"/>
                <a:gd name="T56" fmla="*/ 5 w 699"/>
                <a:gd name="T57" fmla="*/ 280 h 691"/>
                <a:gd name="T58" fmla="*/ 1 w 699"/>
                <a:gd name="T59" fmla="*/ 304 h 691"/>
                <a:gd name="T60" fmla="*/ 39 w 699"/>
                <a:gd name="T61" fmla="*/ 345 h 691"/>
                <a:gd name="T62" fmla="*/ 8 w 699"/>
                <a:gd name="T63" fmla="*/ 374 h 691"/>
                <a:gd name="T64" fmla="*/ 16 w 699"/>
                <a:gd name="T65" fmla="*/ 423 h 691"/>
                <a:gd name="T66" fmla="*/ 54 w 699"/>
                <a:gd name="T67" fmla="*/ 443 h 691"/>
                <a:gd name="T68" fmla="*/ 33 w 699"/>
                <a:gd name="T69" fmla="*/ 496 h 691"/>
                <a:gd name="T70" fmla="*/ 94 w 699"/>
                <a:gd name="T71" fmla="*/ 521 h 691"/>
                <a:gd name="T72" fmla="*/ 102 w 699"/>
                <a:gd name="T73" fmla="*/ 533 h 691"/>
                <a:gd name="T74" fmla="*/ 110 w 699"/>
                <a:gd name="T75" fmla="*/ 600 h 691"/>
                <a:gd name="T76" fmla="*/ 167 w 699"/>
                <a:gd name="T77" fmla="*/ 596 h 691"/>
                <a:gd name="T78" fmla="*/ 173 w 699"/>
                <a:gd name="T79" fmla="*/ 635 h 691"/>
                <a:gd name="T80" fmla="*/ 193 w 699"/>
                <a:gd name="T81" fmla="*/ 657 h 691"/>
                <a:gd name="T82" fmla="*/ 245 w 699"/>
                <a:gd name="T83" fmla="*/ 638 h 691"/>
                <a:gd name="T84" fmla="*/ 261 w 699"/>
                <a:gd name="T85" fmla="*/ 642 h 691"/>
                <a:gd name="T86" fmla="*/ 307 w 699"/>
                <a:gd name="T87" fmla="*/ 691 h 691"/>
                <a:gd name="T88" fmla="*/ 358 w 699"/>
                <a:gd name="T89" fmla="*/ 655 h 691"/>
                <a:gd name="T90" fmla="*/ 394 w 699"/>
                <a:gd name="T91" fmla="*/ 691 h 691"/>
                <a:gd name="T92" fmla="*/ 440 w 699"/>
                <a:gd name="T93" fmla="*/ 642 h 691"/>
                <a:gd name="T94" fmla="*/ 454 w 699"/>
                <a:gd name="T95" fmla="*/ 637 h 691"/>
                <a:gd name="T96" fmla="*/ 508 w 699"/>
                <a:gd name="T97" fmla="*/ 657 h 691"/>
                <a:gd name="T98" fmla="*/ 528 w 699"/>
                <a:gd name="T99" fmla="*/ 636 h 691"/>
                <a:gd name="T100" fmla="*/ 539 w 699"/>
                <a:gd name="T101" fmla="*/ 592 h 691"/>
                <a:gd name="T102" fmla="*/ 606 w 699"/>
                <a:gd name="T103" fmla="*/ 584 h 691"/>
                <a:gd name="T104" fmla="*/ 602 w 699"/>
                <a:gd name="T105" fmla="*/ 528 h 691"/>
                <a:gd name="T106" fmla="*/ 643 w 699"/>
                <a:gd name="T107" fmla="*/ 522 h 691"/>
                <a:gd name="T108" fmla="*/ 667 w 699"/>
                <a:gd name="T109" fmla="*/ 478 h 691"/>
                <a:gd name="T110" fmla="*/ 648 w 699"/>
                <a:gd name="T111" fmla="*/ 441 h 691"/>
                <a:gd name="T112" fmla="*/ 696 w 699"/>
                <a:gd name="T113" fmla="*/ 410 h 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99" h="691">
                  <a:moveTo>
                    <a:pt x="692" y="374"/>
                  </a:moveTo>
                  <a:cubicBezTo>
                    <a:pt x="662" y="354"/>
                    <a:pt x="662" y="354"/>
                    <a:pt x="662" y="354"/>
                  </a:cubicBezTo>
                  <a:cubicBezTo>
                    <a:pt x="662" y="347"/>
                    <a:pt x="662" y="347"/>
                    <a:pt x="662" y="347"/>
                  </a:cubicBezTo>
                  <a:cubicBezTo>
                    <a:pt x="662" y="346"/>
                    <a:pt x="662" y="346"/>
                    <a:pt x="662" y="345"/>
                  </a:cubicBezTo>
                  <a:cubicBezTo>
                    <a:pt x="662" y="339"/>
                    <a:pt x="662" y="339"/>
                    <a:pt x="662" y="339"/>
                  </a:cubicBezTo>
                  <a:cubicBezTo>
                    <a:pt x="691" y="320"/>
                    <a:pt x="691" y="320"/>
                    <a:pt x="691" y="320"/>
                  </a:cubicBezTo>
                  <a:cubicBezTo>
                    <a:pt x="696" y="316"/>
                    <a:pt x="699" y="310"/>
                    <a:pt x="698" y="304"/>
                  </a:cubicBezTo>
                  <a:cubicBezTo>
                    <a:pt x="696" y="282"/>
                    <a:pt x="696" y="282"/>
                    <a:pt x="696" y="282"/>
                  </a:cubicBezTo>
                  <a:cubicBezTo>
                    <a:pt x="695" y="276"/>
                    <a:pt x="691" y="271"/>
                    <a:pt x="684" y="269"/>
                  </a:cubicBezTo>
                  <a:cubicBezTo>
                    <a:pt x="650" y="259"/>
                    <a:pt x="650" y="259"/>
                    <a:pt x="650" y="259"/>
                  </a:cubicBezTo>
                  <a:cubicBezTo>
                    <a:pt x="650" y="259"/>
                    <a:pt x="650" y="259"/>
                    <a:pt x="650" y="258"/>
                  </a:cubicBezTo>
                  <a:cubicBezTo>
                    <a:pt x="645" y="243"/>
                    <a:pt x="645" y="243"/>
                    <a:pt x="645" y="243"/>
                  </a:cubicBezTo>
                  <a:cubicBezTo>
                    <a:pt x="667" y="215"/>
                    <a:pt x="667" y="215"/>
                    <a:pt x="667" y="215"/>
                  </a:cubicBezTo>
                  <a:cubicBezTo>
                    <a:pt x="671" y="211"/>
                    <a:pt x="671" y="204"/>
                    <a:pt x="668" y="198"/>
                  </a:cubicBezTo>
                  <a:cubicBezTo>
                    <a:pt x="663" y="188"/>
                    <a:pt x="663" y="188"/>
                    <a:pt x="663" y="188"/>
                  </a:cubicBezTo>
                  <a:cubicBezTo>
                    <a:pt x="663" y="187"/>
                    <a:pt x="663" y="187"/>
                    <a:pt x="662" y="186"/>
                  </a:cubicBezTo>
                  <a:cubicBezTo>
                    <a:pt x="657" y="179"/>
                    <a:pt x="657" y="179"/>
                    <a:pt x="657" y="179"/>
                  </a:cubicBezTo>
                  <a:cubicBezTo>
                    <a:pt x="654" y="174"/>
                    <a:pt x="649" y="171"/>
                    <a:pt x="644" y="171"/>
                  </a:cubicBezTo>
                  <a:cubicBezTo>
                    <a:pt x="607" y="171"/>
                    <a:pt x="607" y="171"/>
                    <a:pt x="607" y="171"/>
                  </a:cubicBezTo>
                  <a:cubicBezTo>
                    <a:pt x="603" y="165"/>
                    <a:pt x="603" y="165"/>
                    <a:pt x="603" y="165"/>
                  </a:cubicBezTo>
                  <a:cubicBezTo>
                    <a:pt x="603" y="165"/>
                    <a:pt x="602" y="165"/>
                    <a:pt x="602" y="165"/>
                  </a:cubicBezTo>
                  <a:cubicBezTo>
                    <a:pt x="599" y="160"/>
                    <a:pt x="599" y="160"/>
                    <a:pt x="599" y="160"/>
                  </a:cubicBezTo>
                  <a:cubicBezTo>
                    <a:pt x="610" y="126"/>
                    <a:pt x="610" y="126"/>
                    <a:pt x="610" y="126"/>
                  </a:cubicBezTo>
                  <a:cubicBezTo>
                    <a:pt x="612" y="120"/>
                    <a:pt x="610" y="113"/>
                    <a:pt x="606" y="109"/>
                  </a:cubicBezTo>
                  <a:cubicBezTo>
                    <a:pt x="591" y="94"/>
                    <a:pt x="591" y="94"/>
                    <a:pt x="591" y="94"/>
                  </a:cubicBezTo>
                  <a:cubicBezTo>
                    <a:pt x="586" y="89"/>
                    <a:pt x="580" y="88"/>
                    <a:pt x="574" y="90"/>
                  </a:cubicBezTo>
                  <a:cubicBezTo>
                    <a:pt x="540" y="101"/>
                    <a:pt x="540" y="101"/>
                    <a:pt x="540" y="101"/>
                  </a:cubicBezTo>
                  <a:cubicBezTo>
                    <a:pt x="540" y="101"/>
                    <a:pt x="539" y="101"/>
                    <a:pt x="539" y="100"/>
                  </a:cubicBezTo>
                  <a:cubicBezTo>
                    <a:pt x="533" y="97"/>
                    <a:pt x="533" y="97"/>
                    <a:pt x="533" y="97"/>
                  </a:cubicBezTo>
                  <a:cubicBezTo>
                    <a:pt x="528" y="93"/>
                    <a:pt x="528" y="93"/>
                    <a:pt x="528" y="93"/>
                  </a:cubicBezTo>
                  <a:cubicBezTo>
                    <a:pt x="528" y="56"/>
                    <a:pt x="528" y="56"/>
                    <a:pt x="528" y="56"/>
                  </a:cubicBezTo>
                  <a:cubicBezTo>
                    <a:pt x="528" y="50"/>
                    <a:pt x="525" y="44"/>
                    <a:pt x="519" y="42"/>
                  </a:cubicBezTo>
                  <a:cubicBezTo>
                    <a:pt x="509" y="37"/>
                    <a:pt x="509" y="37"/>
                    <a:pt x="509" y="37"/>
                  </a:cubicBezTo>
                  <a:cubicBezTo>
                    <a:pt x="509" y="36"/>
                    <a:pt x="509" y="36"/>
                    <a:pt x="508" y="36"/>
                  </a:cubicBezTo>
                  <a:cubicBezTo>
                    <a:pt x="499" y="32"/>
                    <a:pt x="499" y="32"/>
                    <a:pt x="499" y="32"/>
                  </a:cubicBezTo>
                  <a:cubicBezTo>
                    <a:pt x="494" y="30"/>
                    <a:pt x="488" y="31"/>
                    <a:pt x="484" y="34"/>
                  </a:cubicBezTo>
                  <a:cubicBezTo>
                    <a:pt x="454" y="55"/>
                    <a:pt x="454" y="55"/>
                    <a:pt x="454" y="55"/>
                  </a:cubicBezTo>
                  <a:cubicBezTo>
                    <a:pt x="449" y="53"/>
                    <a:pt x="449" y="53"/>
                    <a:pt x="449" y="53"/>
                  </a:cubicBezTo>
                  <a:cubicBezTo>
                    <a:pt x="448" y="52"/>
                    <a:pt x="447" y="52"/>
                    <a:pt x="447" y="52"/>
                  </a:cubicBezTo>
                  <a:cubicBezTo>
                    <a:pt x="440" y="50"/>
                    <a:pt x="440" y="50"/>
                    <a:pt x="440" y="50"/>
                  </a:cubicBezTo>
                  <a:cubicBezTo>
                    <a:pt x="428" y="16"/>
                    <a:pt x="428" y="16"/>
                    <a:pt x="428" y="16"/>
                  </a:cubicBezTo>
                  <a:cubicBezTo>
                    <a:pt x="427" y="11"/>
                    <a:pt x="422" y="7"/>
                    <a:pt x="417" y="6"/>
                  </a:cubicBezTo>
                  <a:cubicBezTo>
                    <a:pt x="407" y="3"/>
                    <a:pt x="407" y="3"/>
                    <a:pt x="407" y="3"/>
                  </a:cubicBezTo>
                  <a:cubicBezTo>
                    <a:pt x="406" y="3"/>
                    <a:pt x="405" y="3"/>
                    <a:pt x="405" y="3"/>
                  </a:cubicBezTo>
                  <a:cubicBezTo>
                    <a:pt x="394" y="1"/>
                    <a:pt x="394" y="1"/>
                    <a:pt x="394" y="1"/>
                  </a:cubicBezTo>
                  <a:cubicBezTo>
                    <a:pt x="388" y="1"/>
                    <a:pt x="383" y="3"/>
                    <a:pt x="379" y="8"/>
                  </a:cubicBezTo>
                  <a:cubicBezTo>
                    <a:pt x="359" y="38"/>
                    <a:pt x="359" y="38"/>
                    <a:pt x="359" y="38"/>
                  </a:cubicBezTo>
                  <a:cubicBezTo>
                    <a:pt x="352" y="37"/>
                    <a:pt x="352" y="37"/>
                    <a:pt x="352" y="37"/>
                  </a:cubicBezTo>
                  <a:cubicBezTo>
                    <a:pt x="352" y="37"/>
                    <a:pt x="351" y="37"/>
                    <a:pt x="350" y="37"/>
                  </a:cubicBezTo>
                  <a:cubicBezTo>
                    <a:pt x="342" y="38"/>
                    <a:pt x="342" y="38"/>
                    <a:pt x="342" y="38"/>
                  </a:cubicBezTo>
                  <a:cubicBezTo>
                    <a:pt x="322" y="8"/>
                    <a:pt x="322" y="8"/>
                    <a:pt x="322" y="8"/>
                  </a:cubicBezTo>
                  <a:cubicBezTo>
                    <a:pt x="318" y="3"/>
                    <a:pt x="312" y="0"/>
                    <a:pt x="306" y="2"/>
                  </a:cubicBezTo>
                  <a:cubicBezTo>
                    <a:pt x="285" y="5"/>
                    <a:pt x="285" y="5"/>
                    <a:pt x="285" y="5"/>
                  </a:cubicBezTo>
                  <a:cubicBezTo>
                    <a:pt x="279" y="7"/>
                    <a:pt x="275" y="11"/>
                    <a:pt x="273" y="16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1" y="50"/>
                    <a:pt x="261" y="50"/>
                    <a:pt x="261" y="50"/>
                  </a:cubicBezTo>
                  <a:cubicBezTo>
                    <a:pt x="253" y="52"/>
                    <a:pt x="253" y="52"/>
                    <a:pt x="253" y="52"/>
                  </a:cubicBezTo>
                  <a:cubicBezTo>
                    <a:pt x="253" y="52"/>
                    <a:pt x="253" y="53"/>
                    <a:pt x="253" y="53"/>
                  </a:cubicBezTo>
                  <a:cubicBezTo>
                    <a:pt x="247" y="55"/>
                    <a:pt x="247" y="55"/>
                    <a:pt x="247" y="55"/>
                  </a:cubicBezTo>
                  <a:cubicBezTo>
                    <a:pt x="217" y="34"/>
                    <a:pt x="217" y="34"/>
                    <a:pt x="217" y="34"/>
                  </a:cubicBezTo>
                  <a:cubicBezTo>
                    <a:pt x="213" y="31"/>
                    <a:pt x="207" y="30"/>
                    <a:pt x="202" y="32"/>
                  </a:cubicBezTo>
                  <a:cubicBezTo>
                    <a:pt x="193" y="36"/>
                    <a:pt x="193" y="36"/>
                    <a:pt x="193" y="36"/>
                  </a:cubicBezTo>
                  <a:cubicBezTo>
                    <a:pt x="192" y="36"/>
                    <a:pt x="192" y="36"/>
                    <a:pt x="192" y="37"/>
                  </a:cubicBezTo>
                  <a:cubicBezTo>
                    <a:pt x="181" y="42"/>
                    <a:pt x="181" y="42"/>
                    <a:pt x="181" y="42"/>
                  </a:cubicBezTo>
                  <a:cubicBezTo>
                    <a:pt x="176" y="45"/>
                    <a:pt x="172" y="50"/>
                    <a:pt x="173" y="57"/>
                  </a:cubicBezTo>
                  <a:cubicBezTo>
                    <a:pt x="174" y="93"/>
                    <a:pt x="174" y="93"/>
                    <a:pt x="174" y="93"/>
                  </a:cubicBezTo>
                  <a:cubicBezTo>
                    <a:pt x="162" y="101"/>
                    <a:pt x="162" y="101"/>
                    <a:pt x="162" y="101"/>
                  </a:cubicBezTo>
                  <a:cubicBezTo>
                    <a:pt x="127" y="90"/>
                    <a:pt x="127" y="90"/>
                    <a:pt x="127" y="90"/>
                  </a:cubicBezTo>
                  <a:cubicBezTo>
                    <a:pt x="121" y="88"/>
                    <a:pt x="115" y="89"/>
                    <a:pt x="110" y="94"/>
                  </a:cubicBezTo>
                  <a:cubicBezTo>
                    <a:pt x="95" y="109"/>
                    <a:pt x="95" y="109"/>
                    <a:pt x="95" y="109"/>
                  </a:cubicBezTo>
                  <a:cubicBezTo>
                    <a:pt x="90" y="113"/>
                    <a:pt x="89" y="120"/>
                    <a:pt x="91" y="126"/>
                  </a:cubicBezTo>
                  <a:cubicBezTo>
                    <a:pt x="102" y="159"/>
                    <a:pt x="102" y="159"/>
                    <a:pt x="102" y="159"/>
                  </a:cubicBezTo>
                  <a:cubicBezTo>
                    <a:pt x="102" y="159"/>
                    <a:pt x="102" y="160"/>
                    <a:pt x="101" y="160"/>
                  </a:cubicBezTo>
                  <a:cubicBezTo>
                    <a:pt x="98" y="166"/>
                    <a:pt x="98" y="166"/>
                    <a:pt x="98" y="166"/>
                  </a:cubicBezTo>
                  <a:cubicBezTo>
                    <a:pt x="94" y="171"/>
                    <a:pt x="94" y="171"/>
                    <a:pt x="94" y="171"/>
                  </a:cubicBezTo>
                  <a:cubicBezTo>
                    <a:pt x="57" y="171"/>
                    <a:pt x="57" y="171"/>
                    <a:pt x="57" y="171"/>
                  </a:cubicBezTo>
                  <a:cubicBezTo>
                    <a:pt x="52" y="171"/>
                    <a:pt x="47" y="174"/>
                    <a:pt x="44" y="179"/>
                  </a:cubicBezTo>
                  <a:cubicBezTo>
                    <a:pt x="39" y="186"/>
                    <a:pt x="39" y="186"/>
                    <a:pt x="39" y="186"/>
                  </a:cubicBezTo>
                  <a:cubicBezTo>
                    <a:pt x="38" y="187"/>
                    <a:pt x="38" y="187"/>
                    <a:pt x="38" y="188"/>
                  </a:cubicBezTo>
                  <a:cubicBezTo>
                    <a:pt x="32" y="198"/>
                    <a:pt x="32" y="198"/>
                    <a:pt x="32" y="198"/>
                  </a:cubicBezTo>
                  <a:cubicBezTo>
                    <a:pt x="30" y="204"/>
                    <a:pt x="30" y="211"/>
                    <a:pt x="34" y="215"/>
                  </a:cubicBezTo>
                  <a:cubicBezTo>
                    <a:pt x="56" y="243"/>
                    <a:pt x="56" y="243"/>
                    <a:pt x="56" y="243"/>
                  </a:cubicBezTo>
                  <a:cubicBezTo>
                    <a:pt x="53" y="251"/>
                    <a:pt x="53" y="251"/>
                    <a:pt x="53" y="251"/>
                  </a:cubicBezTo>
                  <a:cubicBezTo>
                    <a:pt x="53" y="251"/>
                    <a:pt x="53" y="252"/>
                    <a:pt x="53" y="252"/>
                  </a:cubicBezTo>
                  <a:cubicBezTo>
                    <a:pt x="52" y="258"/>
                    <a:pt x="52" y="258"/>
                    <a:pt x="52" y="258"/>
                  </a:cubicBezTo>
                  <a:cubicBezTo>
                    <a:pt x="17" y="269"/>
                    <a:pt x="17" y="269"/>
                    <a:pt x="17" y="269"/>
                  </a:cubicBezTo>
                  <a:cubicBezTo>
                    <a:pt x="11" y="270"/>
                    <a:pt x="7" y="275"/>
                    <a:pt x="5" y="280"/>
                  </a:cubicBezTo>
                  <a:cubicBezTo>
                    <a:pt x="3" y="291"/>
                    <a:pt x="3" y="291"/>
                    <a:pt x="3" y="291"/>
                  </a:cubicBezTo>
                  <a:cubicBezTo>
                    <a:pt x="3" y="291"/>
                    <a:pt x="3" y="292"/>
                    <a:pt x="2" y="293"/>
                  </a:cubicBezTo>
                  <a:cubicBezTo>
                    <a:pt x="1" y="304"/>
                    <a:pt x="1" y="304"/>
                    <a:pt x="1" y="304"/>
                  </a:cubicBezTo>
                  <a:cubicBezTo>
                    <a:pt x="1" y="310"/>
                    <a:pt x="3" y="316"/>
                    <a:pt x="9" y="320"/>
                  </a:cubicBezTo>
                  <a:cubicBezTo>
                    <a:pt x="39" y="339"/>
                    <a:pt x="39" y="339"/>
                    <a:pt x="39" y="339"/>
                  </a:cubicBezTo>
                  <a:cubicBezTo>
                    <a:pt x="39" y="345"/>
                    <a:pt x="39" y="345"/>
                    <a:pt x="39" y="345"/>
                  </a:cubicBezTo>
                  <a:cubicBezTo>
                    <a:pt x="38" y="346"/>
                    <a:pt x="38" y="346"/>
                    <a:pt x="39" y="347"/>
                  </a:cubicBezTo>
                  <a:cubicBezTo>
                    <a:pt x="39" y="353"/>
                    <a:pt x="39" y="353"/>
                    <a:pt x="39" y="353"/>
                  </a:cubicBezTo>
                  <a:cubicBezTo>
                    <a:pt x="8" y="374"/>
                    <a:pt x="8" y="374"/>
                    <a:pt x="8" y="374"/>
                  </a:cubicBezTo>
                  <a:cubicBezTo>
                    <a:pt x="3" y="377"/>
                    <a:pt x="0" y="384"/>
                    <a:pt x="1" y="390"/>
                  </a:cubicBezTo>
                  <a:cubicBezTo>
                    <a:pt x="5" y="411"/>
                    <a:pt x="5" y="411"/>
                    <a:pt x="5" y="411"/>
                  </a:cubicBezTo>
                  <a:cubicBezTo>
                    <a:pt x="6" y="417"/>
                    <a:pt x="10" y="421"/>
                    <a:pt x="16" y="423"/>
                  </a:cubicBezTo>
                  <a:cubicBezTo>
                    <a:pt x="52" y="435"/>
                    <a:pt x="52" y="435"/>
                    <a:pt x="52" y="435"/>
                  </a:cubicBezTo>
                  <a:cubicBezTo>
                    <a:pt x="53" y="440"/>
                    <a:pt x="53" y="440"/>
                    <a:pt x="53" y="440"/>
                  </a:cubicBezTo>
                  <a:cubicBezTo>
                    <a:pt x="53" y="441"/>
                    <a:pt x="53" y="442"/>
                    <a:pt x="54" y="443"/>
                  </a:cubicBezTo>
                  <a:cubicBezTo>
                    <a:pt x="56" y="449"/>
                    <a:pt x="56" y="449"/>
                    <a:pt x="56" y="449"/>
                  </a:cubicBezTo>
                  <a:cubicBezTo>
                    <a:pt x="34" y="478"/>
                    <a:pt x="34" y="478"/>
                    <a:pt x="34" y="478"/>
                  </a:cubicBezTo>
                  <a:cubicBezTo>
                    <a:pt x="30" y="483"/>
                    <a:pt x="30" y="490"/>
                    <a:pt x="33" y="496"/>
                  </a:cubicBezTo>
                  <a:cubicBezTo>
                    <a:pt x="43" y="514"/>
                    <a:pt x="43" y="514"/>
                    <a:pt x="43" y="514"/>
                  </a:cubicBezTo>
                  <a:cubicBezTo>
                    <a:pt x="46" y="519"/>
                    <a:pt x="52" y="522"/>
                    <a:pt x="58" y="522"/>
                  </a:cubicBezTo>
                  <a:cubicBezTo>
                    <a:pt x="94" y="521"/>
                    <a:pt x="94" y="521"/>
                    <a:pt x="94" y="521"/>
                  </a:cubicBezTo>
                  <a:cubicBezTo>
                    <a:pt x="98" y="527"/>
                    <a:pt x="98" y="527"/>
                    <a:pt x="98" y="527"/>
                  </a:cubicBezTo>
                  <a:cubicBezTo>
                    <a:pt x="98" y="528"/>
                    <a:pt x="98" y="528"/>
                    <a:pt x="99" y="529"/>
                  </a:cubicBezTo>
                  <a:cubicBezTo>
                    <a:pt x="102" y="533"/>
                    <a:pt x="102" y="533"/>
                    <a:pt x="102" y="533"/>
                  </a:cubicBezTo>
                  <a:cubicBezTo>
                    <a:pt x="91" y="568"/>
                    <a:pt x="91" y="568"/>
                    <a:pt x="91" y="568"/>
                  </a:cubicBezTo>
                  <a:cubicBezTo>
                    <a:pt x="89" y="573"/>
                    <a:pt x="90" y="580"/>
                    <a:pt x="95" y="584"/>
                  </a:cubicBezTo>
                  <a:cubicBezTo>
                    <a:pt x="110" y="600"/>
                    <a:pt x="110" y="600"/>
                    <a:pt x="110" y="600"/>
                  </a:cubicBezTo>
                  <a:cubicBezTo>
                    <a:pt x="115" y="604"/>
                    <a:pt x="121" y="605"/>
                    <a:pt x="127" y="603"/>
                  </a:cubicBezTo>
                  <a:cubicBezTo>
                    <a:pt x="162" y="592"/>
                    <a:pt x="162" y="592"/>
                    <a:pt x="162" y="592"/>
                  </a:cubicBezTo>
                  <a:cubicBezTo>
                    <a:pt x="167" y="596"/>
                    <a:pt x="167" y="596"/>
                    <a:pt x="167" y="596"/>
                  </a:cubicBezTo>
                  <a:cubicBezTo>
                    <a:pt x="167" y="596"/>
                    <a:pt x="168" y="596"/>
                    <a:pt x="168" y="596"/>
                  </a:cubicBezTo>
                  <a:cubicBezTo>
                    <a:pt x="174" y="600"/>
                    <a:pt x="174" y="600"/>
                    <a:pt x="174" y="600"/>
                  </a:cubicBezTo>
                  <a:cubicBezTo>
                    <a:pt x="173" y="635"/>
                    <a:pt x="173" y="635"/>
                    <a:pt x="173" y="635"/>
                  </a:cubicBezTo>
                  <a:cubicBezTo>
                    <a:pt x="172" y="641"/>
                    <a:pt x="175" y="647"/>
                    <a:pt x="180" y="650"/>
                  </a:cubicBezTo>
                  <a:cubicBezTo>
                    <a:pt x="190" y="656"/>
                    <a:pt x="190" y="656"/>
                    <a:pt x="190" y="656"/>
                  </a:cubicBezTo>
                  <a:cubicBezTo>
                    <a:pt x="191" y="656"/>
                    <a:pt x="192" y="657"/>
                    <a:pt x="193" y="657"/>
                  </a:cubicBezTo>
                  <a:cubicBezTo>
                    <a:pt x="202" y="661"/>
                    <a:pt x="202" y="661"/>
                    <a:pt x="202" y="661"/>
                  </a:cubicBezTo>
                  <a:cubicBezTo>
                    <a:pt x="207" y="663"/>
                    <a:pt x="213" y="663"/>
                    <a:pt x="218" y="659"/>
                  </a:cubicBezTo>
                  <a:cubicBezTo>
                    <a:pt x="245" y="638"/>
                    <a:pt x="245" y="638"/>
                    <a:pt x="245" y="638"/>
                  </a:cubicBezTo>
                  <a:cubicBezTo>
                    <a:pt x="246" y="639"/>
                    <a:pt x="247" y="639"/>
                    <a:pt x="248" y="639"/>
                  </a:cubicBezTo>
                  <a:cubicBezTo>
                    <a:pt x="254" y="640"/>
                    <a:pt x="254" y="640"/>
                    <a:pt x="254" y="640"/>
                  </a:cubicBezTo>
                  <a:cubicBezTo>
                    <a:pt x="261" y="642"/>
                    <a:pt x="261" y="642"/>
                    <a:pt x="261" y="642"/>
                  </a:cubicBezTo>
                  <a:cubicBezTo>
                    <a:pt x="273" y="677"/>
                    <a:pt x="273" y="677"/>
                    <a:pt x="273" y="677"/>
                  </a:cubicBezTo>
                  <a:cubicBezTo>
                    <a:pt x="275" y="683"/>
                    <a:pt x="280" y="687"/>
                    <a:pt x="286" y="688"/>
                  </a:cubicBezTo>
                  <a:cubicBezTo>
                    <a:pt x="307" y="691"/>
                    <a:pt x="307" y="691"/>
                    <a:pt x="307" y="691"/>
                  </a:cubicBezTo>
                  <a:cubicBezTo>
                    <a:pt x="312" y="691"/>
                    <a:pt x="318" y="689"/>
                    <a:pt x="322" y="684"/>
                  </a:cubicBezTo>
                  <a:cubicBezTo>
                    <a:pt x="343" y="655"/>
                    <a:pt x="343" y="655"/>
                    <a:pt x="343" y="655"/>
                  </a:cubicBezTo>
                  <a:cubicBezTo>
                    <a:pt x="358" y="655"/>
                    <a:pt x="358" y="655"/>
                    <a:pt x="358" y="655"/>
                  </a:cubicBezTo>
                  <a:cubicBezTo>
                    <a:pt x="379" y="684"/>
                    <a:pt x="379" y="684"/>
                    <a:pt x="379" y="684"/>
                  </a:cubicBezTo>
                  <a:cubicBezTo>
                    <a:pt x="382" y="688"/>
                    <a:pt x="387" y="691"/>
                    <a:pt x="392" y="691"/>
                  </a:cubicBezTo>
                  <a:cubicBezTo>
                    <a:pt x="393" y="691"/>
                    <a:pt x="394" y="691"/>
                    <a:pt x="394" y="691"/>
                  </a:cubicBezTo>
                  <a:cubicBezTo>
                    <a:pt x="415" y="688"/>
                    <a:pt x="415" y="688"/>
                    <a:pt x="415" y="688"/>
                  </a:cubicBezTo>
                  <a:cubicBezTo>
                    <a:pt x="421" y="687"/>
                    <a:pt x="426" y="683"/>
                    <a:pt x="428" y="677"/>
                  </a:cubicBezTo>
                  <a:cubicBezTo>
                    <a:pt x="440" y="642"/>
                    <a:pt x="440" y="642"/>
                    <a:pt x="440" y="642"/>
                  </a:cubicBezTo>
                  <a:cubicBezTo>
                    <a:pt x="448" y="640"/>
                    <a:pt x="448" y="640"/>
                    <a:pt x="448" y="640"/>
                  </a:cubicBezTo>
                  <a:cubicBezTo>
                    <a:pt x="448" y="640"/>
                    <a:pt x="448" y="639"/>
                    <a:pt x="448" y="639"/>
                  </a:cubicBezTo>
                  <a:cubicBezTo>
                    <a:pt x="454" y="637"/>
                    <a:pt x="454" y="637"/>
                    <a:pt x="454" y="637"/>
                  </a:cubicBezTo>
                  <a:cubicBezTo>
                    <a:pt x="483" y="659"/>
                    <a:pt x="483" y="659"/>
                    <a:pt x="483" y="659"/>
                  </a:cubicBezTo>
                  <a:cubicBezTo>
                    <a:pt x="488" y="663"/>
                    <a:pt x="494" y="663"/>
                    <a:pt x="499" y="661"/>
                  </a:cubicBezTo>
                  <a:cubicBezTo>
                    <a:pt x="508" y="657"/>
                    <a:pt x="508" y="657"/>
                    <a:pt x="508" y="657"/>
                  </a:cubicBezTo>
                  <a:cubicBezTo>
                    <a:pt x="509" y="657"/>
                    <a:pt x="510" y="656"/>
                    <a:pt x="510" y="656"/>
                  </a:cubicBezTo>
                  <a:cubicBezTo>
                    <a:pt x="521" y="650"/>
                    <a:pt x="521" y="650"/>
                    <a:pt x="521" y="650"/>
                  </a:cubicBezTo>
                  <a:cubicBezTo>
                    <a:pt x="525" y="647"/>
                    <a:pt x="528" y="641"/>
                    <a:pt x="528" y="636"/>
                  </a:cubicBezTo>
                  <a:cubicBezTo>
                    <a:pt x="528" y="600"/>
                    <a:pt x="528" y="600"/>
                    <a:pt x="528" y="600"/>
                  </a:cubicBezTo>
                  <a:cubicBezTo>
                    <a:pt x="533" y="596"/>
                    <a:pt x="533" y="596"/>
                    <a:pt x="533" y="596"/>
                  </a:cubicBezTo>
                  <a:cubicBezTo>
                    <a:pt x="539" y="592"/>
                    <a:pt x="539" y="592"/>
                    <a:pt x="539" y="592"/>
                  </a:cubicBezTo>
                  <a:cubicBezTo>
                    <a:pt x="574" y="603"/>
                    <a:pt x="574" y="603"/>
                    <a:pt x="574" y="603"/>
                  </a:cubicBezTo>
                  <a:cubicBezTo>
                    <a:pt x="580" y="605"/>
                    <a:pt x="586" y="604"/>
                    <a:pt x="591" y="600"/>
                  </a:cubicBezTo>
                  <a:cubicBezTo>
                    <a:pt x="606" y="584"/>
                    <a:pt x="606" y="584"/>
                    <a:pt x="606" y="584"/>
                  </a:cubicBezTo>
                  <a:cubicBezTo>
                    <a:pt x="610" y="580"/>
                    <a:pt x="612" y="573"/>
                    <a:pt x="610" y="568"/>
                  </a:cubicBezTo>
                  <a:cubicBezTo>
                    <a:pt x="599" y="533"/>
                    <a:pt x="599" y="533"/>
                    <a:pt x="599" y="533"/>
                  </a:cubicBezTo>
                  <a:cubicBezTo>
                    <a:pt x="602" y="528"/>
                    <a:pt x="602" y="528"/>
                    <a:pt x="602" y="528"/>
                  </a:cubicBezTo>
                  <a:cubicBezTo>
                    <a:pt x="603" y="528"/>
                    <a:pt x="603" y="528"/>
                    <a:pt x="603" y="527"/>
                  </a:cubicBezTo>
                  <a:cubicBezTo>
                    <a:pt x="607" y="521"/>
                    <a:pt x="607" y="521"/>
                    <a:pt x="607" y="521"/>
                  </a:cubicBezTo>
                  <a:cubicBezTo>
                    <a:pt x="643" y="522"/>
                    <a:pt x="643" y="522"/>
                    <a:pt x="643" y="522"/>
                  </a:cubicBezTo>
                  <a:cubicBezTo>
                    <a:pt x="649" y="522"/>
                    <a:pt x="655" y="519"/>
                    <a:pt x="658" y="514"/>
                  </a:cubicBezTo>
                  <a:cubicBezTo>
                    <a:pt x="668" y="496"/>
                    <a:pt x="668" y="496"/>
                    <a:pt x="668" y="496"/>
                  </a:cubicBezTo>
                  <a:cubicBezTo>
                    <a:pt x="671" y="490"/>
                    <a:pt x="671" y="483"/>
                    <a:pt x="667" y="478"/>
                  </a:cubicBezTo>
                  <a:cubicBezTo>
                    <a:pt x="645" y="449"/>
                    <a:pt x="645" y="449"/>
                    <a:pt x="645" y="449"/>
                  </a:cubicBezTo>
                  <a:cubicBezTo>
                    <a:pt x="647" y="443"/>
                    <a:pt x="647" y="443"/>
                    <a:pt x="647" y="443"/>
                  </a:cubicBezTo>
                  <a:cubicBezTo>
                    <a:pt x="647" y="443"/>
                    <a:pt x="648" y="442"/>
                    <a:pt x="648" y="441"/>
                  </a:cubicBezTo>
                  <a:cubicBezTo>
                    <a:pt x="649" y="435"/>
                    <a:pt x="649" y="435"/>
                    <a:pt x="649" y="435"/>
                  </a:cubicBezTo>
                  <a:cubicBezTo>
                    <a:pt x="685" y="423"/>
                    <a:pt x="685" y="423"/>
                    <a:pt x="685" y="423"/>
                  </a:cubicBezTo>
                  <a:cubicBezTo>
                    <a:pt x="691" y="421"/>
                    <a:pt x="695" y="416"/>
                    <a:pt x="696" y="410"/>
                  </a:cubicBezTo>
                  <a:cubicBezTo>
                    <a:pt x="698" y="389"/>
                    <a:pt x="698" y="389"/>
                    <a:pt x="698" y="389"/>
                  </a:cubicBezTo>
                  <a:cubicBezTo>
                    <a:pt x="699" y="383"/>
                    <a:pt x="697" y="377"/>
                    <a:pt x="692" y="37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CH" sz="1600" dirty="0"/>
            </a:p>
          </p:txBody>
        </p:sp>
        <p:sp>
          <p:nvSpPr>
            <p:cNvPr id="11" name="Oval 15">
              <a:extLst>
                <a:ext uri="{FF2B5EF4-FFF2-40B4-BE49-F238E27FC236}">
                  <a16:creationId xmlns:a16="http://schemas.microsoft.com/office/drawing/2014/main" id="{F57A13FD-E39E-42A9-A373-CC466731D00F}"/>
                </a:ext>
              </a:extLst>
            </p:cNvPr>
            <p:cNvSpPr/>
            <p:nvPr/>
          </p:nvSpPr>
          <p:spPr>
            <a:xfrm>
              <a:off x="11696315" y="6362315"/>
              <a:ext cx="359032" cy="35903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</p:grpSp>
    </p:spTree>
    <p:extLst>
      <p:ext uri="{BB962C8B-B14F-4D97-AF65-F5344CB8AC3E}">
        <p14:creationId xmlns:p14="http://schemas.microsoft.com/office/powerpoint/2010/main" val="37164420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5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CH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CH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CH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A13FF3-A3B4-402D-91B1-C176C247EB92}" type="datetimeFigureOut">
              <a:rPr lang="fr-CH" smtClean="0"/>
              <a:t>05.04.2019</a:t>
            </a:fld>
            <a:endParaRPr lang="fr-CH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107053-0274-46BF-A48C-B751F6C03B80}" type="slidenum">
              <a:rPr lang="fr-CH" smtClean="0"/>
              <a:t>‹N°›</a:t>
            </a:fld>
            <a:endParaRPr lang="fr-CH"/>
          </a:p>
        </p:txBody>
      </p:sp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10" name="Group 12">
            <a:extLst>
              <a:ext uri="{FF2B5EF4-FFF2-40B4-BE49-F238E27FC236}">
                <a16:creationId xmlns:a16="http://schemas.microsoft.com/office/drawing/2014/main" id="{ECCED422-413C-461E-B309-A333116F660F}"/>
              </a:ext>
            </a:extLst>
          </p:cNvPr>
          <p:cNvGrpSpPr/>
          <p:nvPr userDrawn="1"/>
        </p:nvGrpSpPr>
        <p:grpSpPr>
          <a:xfrm>
            <a:off x="11588238" y="6254238"/>
            <a:ext cx="575187" cy="575187"/>
            <a:chOff x="11588238" y="6254238"/>
            <a:chExt cx="575187" cy="575187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A5FA24C1-62EB-4E45-B25F-8B68A03504F9}"/>
                </a:ext>
              </a:extLst>
            </p:cNvPr>
            <p:cNvSpPr>
              <a:spLocks/>
            </p:cNvSpPr>
            <p:nvPr>
              <p:custDataLst>
                <p:tags r:id="rId1"/>
              </p:custDataLst>
            </p:nvPr>
          </p:nvSpPr>
          <p:spPr bwMode="gray">
            <a:xfrm>
              <a:off x="11588238" y="6254238"/>
              <a:ext cx="575187" cy="575187"/>
            </a:xfrm>
            <a:custGeom>
              <a:avLst/>
              <a:gdLst>
                <a:gd name="T0" fmla="*/ 662 w 699"/>
                <a:gd name="T1" fmla="*/ 347 h 691"/>
                <a:gd name="T2" fmla="*/ 691 w 699"/>
                <a:gd name="T3" fmla="*/ 320 h 691"/>
                <a:gd name="T4" fmla="*/ 684 w 699"/>
                <a:gd name="T5" fmla="*/ 269 h 691"/>
                <a:gd name="T6" fmla="*/ 645 w 699"/>
                <a:gd name="T7" fmla="*/ 243 h 691"/>
                <a:gd name="T8" fmla="*/ 663 w 699"/>
                <a:gd name="T9" fmla="*/ 188 h 691"/>
                <a:gd name="T10" fmla="*/ 644 w 699"/>
                <a:gd name="T11" fmla="*/ 171 h 691"/>
                <a:gd name="T12" fmla="*/ 602 w 699"/>
                <a:gd name="T13" fmla="*/ 165 h 691"/>
                <a:gd name="T14" fmla="*/ 606 w 699"/>
                <a:gd name="T15" fmla="*/ 109 h 691"/>
                <a:gd name="T16" fmla="*/ 540 w 699"/>
                <a:gd name="T17" fmla="*/ 101 h 691"/>
                <a:gd name="T18" fmla="*/ 528 w 699"/>
                <a:gd name="T19" fmla="*/ 93 h 691"/>
                <a:gd name="T20" fmla="*/ 509 w 699"/>
                <a:gd name="T21" fmla="*/ 37 h 691"/>
                <a:gd name="T22" fmla="*/ 484 w 699"/>
                <a:gd name="T23" fmla="*/ 34 h 691"/>
                <a:gd name="T24" fmla="*/ 447 w 699"/>
                <a:gd name="T25" fmla="*/ 52 h 691"/>
                <a:gd name="T26" fmla="*/ 417 w 699"/>
                <a:gd name="T27" fmla="*/ 6 h 691"/>
                <a:gd name="T28" fmla="*/ 394 w 699"/>
                <a:gd name="T29" fmla="*/ 1 h 691"/>
                <a:gd name="T30" fmla="*/ 352 w 699"/>
                <a:gd name="T31" fmla="*/ 37 h 691"/>
                <a:gd name="T32" fmla="*/ 322 w 699"/>
                <a:gd name="T33" fmla="*/ 8 h 691"/>
                <a:gd name="T34" fmla="*/ 273 w 699"/>
                <a:gd name="T35" fmla="*/ 16 h 691"/>
                <a:gd name="T36" fmla="*/ 253 w 699"/>
                <a:gd name="T37" fmla="*/ 52 h 691"/>
                <a:gd name="T38" fmla="*/ 217 w 699"/>
                <a:gd name="T39" fmla="*/ 34 h 691"/>
                <a:gd name="T40" fmla="*/ 192 w 699"/>
                <a:gd name="T41" fmla="*/ 37 h 691"/>
                <a:gd name="T42" fmla="*/ 174 w 699"/>
                <a:gd name="T43" fmla="*/ 93 h 691"/>
                <a:gd name="T44" fmla="*/ 110 w 699"/>
                <a:gd name="T45" fmla="*/ 94 h 691"/>
                <a:gd name="T46" fmla="*/ 102 w 699"/>
                <a:gd name="T47" fmla="*/ 159 h 691"/>
                <a:gd name="T48" fmla="*/ 94 w 699"/>
                <a:gd name="T49" fmla="*/ 171 h 691"/>
                <a:gd name="T50" fmla="*/ 39 w 699"/>
                <a:gd name="T51" fmla="*/ 186 h 691"/>
                <a:gd name="T52" fmla="*/ 34 w 699"/>
                <a:gd name="T53" fmla="*/ 215 h 691"/>
                <a:gd name="T54" fmla="*/ 53 w 699"/>
                <a:gd name="T55" fmla="*/ 252 h 691"/>
                <a:gd name="T56" fmla="*/ 5 w 699"/>
                <a:gd name="T57" fmla="*/ 280 h 691"/>
                <a:gd name="T58" fmla="*/ 1 w 699"/>
                <a:gd name="T59" fmla="*/ 304 h 691"/>
                <a:gd name="T60" fmla="*/ 39 w 699"/>
                <a:gd name="T61" fmla="*/ 345 h 691"/>
                <a:gd name="T62" fmla="*/ 8 w 699"/>
                <a:gd name="T63" fmla="*/ 374 h 691"/>
                <a:gd name="T64" fmla="*/ 16 w 699"/>
                <a:gd name="T65" fmla="*/ 423 h 691"/>
                <a:gd name="T66" fmla="*/ 54 w 699"/>
                <a:gd name="T67" fmla="*/ 443 h 691"/>
                <a:gd name="T68" fmla="*/ 33 w 699"/>
                <a:gd name="T69" fmla="*/ 496 h 691"/>
                <a:gd name="T70" fmla="*/ 94 w 699"/>
                <a:gd name="T71" fmla="*/ 521 h 691"/>
                <a:gd name="T72" fmla="*/ 102 w 699"/>
                <a:gd name="T73" fmla="*/ 533 h 691"/>
                <a:gd name="T74" fmla="*/ 110 w 699"/>
                <a:gd name="T75" fmla="*/ 600 h 691"/>
                <a:gd name="T76" fmla="*/ 167 w 699"/>
                <a:gd name="T77" fmla="*/ 596 h 691"/>
                <a:gd name="T78" fmla="*/ 173 w 699"/>
                <a:gd name="T79" fmla="*/ 635 h 691"/>
                <a:gd name="T80" fmla="*/ 193 w 699"/>
                <a:gd name="T81" fmla="*/ 657 h 691"/>
                <a:gd name="T82" fmla="*/ 245 w 699"/>
                <a:gd name="T83" fmla="*/ 638 h 691"/>
                <a:gd name="T84" fmla="*/ 261 w 699"/>
                <a:gd name="T85" fmla="*/ 642 h 691"/>
                <a:gd name="T86" fmla="*/ 307 w 699"/>
                <a:gd name="T87" fmla="*/ 691 h 691"/>
                <a:gd name="T88" fmla="*/ 358 w 699"/>
                <a:gd name="T89" fmla="*/ 655 h 691"/>
                <a:gd name="T90" fmla="*/ 394 w 699"/>
                <a:gd name="T91" fmla="*/ 691 h 691"/>
                <a:gd name="T92" fmla="*/ 440 w 699"/>
                <a:gd name="T93" fmla="*/ 642 h 691"/>
                <a:gd name="T94" fmla="*/ 454 w 699"/>
                <a:gd name="T95" fmla="*/ 637 h 691"/>
                <a:gd name="T96" fmla="*/ 508 w 699"/>
                <a:gd name="T97" fmla="*/ 657 h 691"/>
                <a:gd name="T98" fmla="*/ 528 w 699"/>
                <a:gd name="T99" fmla="*/ 636 h 691"/>
                <a:gd name="T100" fmla="*/ 539 w 699"/>
                <a:gd name="T101" fmla="*/ 592 h 691"/>
                <a:gd name="T102" fmla="*/ 606 w 699"/>
                <a:gd name="T103" fmla="*/ 584 h 691"/>
                <a:gd name="T104" fmla="*/ 602 w 699"/>
                <a:gd name="T105" fmla="*/ 528 h 691"/>
                <a:gd name="T106" fmla="*/ 643 w 699"/>
                <a:gd name="T107" fmla="*/ 522 h 691"/>
                <a:gd name="T108" fmla="*/ 667 w 699"/>
                <a:gd name="T109" fmla="*/ 478 h 691"/>
                <a:gd name="T110" fmla="*/ 648 w 699"/>
                <a:gd name="T111" fmla="*/ 441 h 691"/>
                <a:gd name="T112" fmla="*/ 696 w 699"/>
                <a:gd name="T113" fmla="*/ 410 h 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99" h="691">
                  <a:moveTo>
                    <a:pt x="692" y="374"/>
                  </a:moveTo>
                  <a:cubicBezTo>
                    <a:pt x="662" y="354"/>
                    <a:pt x="662" y="354"/>
                    <a:pt x="662" y="354"/>
                  </a:cubicBezTo>
                  <a:cubicBezTo>
                    <a:pt x="662" y="347"/>
                    <a:pt x="662" y="347"/>
                    <a:pt x="662" y="347"/>
                  </a:cubicBezTo>
                  <a:cubicBezTo>
                    <a:pt x="662" y="346"/>
                    <a:pt x="662" y="346"/>
                    <a:pt x="662" y="345"/>
                  </a:cubicBezTo>
                  <a:cubicBezTo>
                    <a:pt x="662" y="339"/>
                    <a:pt x="662" y="339"/>
                    <a:pt x="662" y="339"/>
                  </a:cubicBezTo>
                  <a:cubicBezTo>
                    <a:pt x="691" y="320"/>
                    <a:pt x="691" y="320"/>
                    <a:pt x="691" y="320"/>
                  </a:cubicBezTo>
                  <a:cubicBezTo>
                    <a:pt x="696" y="316"/>
                    <a:pt x="699" y="310"/>
                    <a:pt x="698" y="304"/>
                  </a:cubicBezTo>
                  <a:cubicBezTo>
                    <a:pt x="696" y="282"/>
                    <a:pt x="696" y="282"/>
                    <a:pt x="696" y="282"/>
                  </a:cubicBezTo>
                  <a:cubicBezTo>
                    <a:pt x="695" y="276"/>
                    <a:pt x="691" y="271"/>
                    <a:pt x="684" y="269"/>
                  </a:cubicBezTo>
                  <a:cubicBezTo>
                    <a:pt x="650" y="259"/>
                    <a:pt x="650" y="259"/>
                    <a:pt x="650" y="259"/>
                  </a:cubicBezTo>
                  <a:cubicBezTo>
                    <a:pt x="650" y="259"/>
                    <a:pt x="650" y="259"/>
                    <a:pt x="650" y="258"/>
                  </a:cubicBezTo>
                  <a:cubicBezTo>
                    <a:pt x="645" y="243"/>
                    <a:pt x="645" y="243"/>
                    <a:pt x="645" y="243"/>
                  </a:cubicBezTo>
                  <a:cubicBezTo>
                    <a:pt x="667" y="215"/>
                    <a:pt x="667" y="215"/>
                    <a:pt x="667" y="215"/>
                  </a:cubicBezTo>
                  <a:cubicBezTo>
                    <a:pt x="671" y="211"/>
                    <a:pt x="671" y="204"/>
                    <a:pt x="668" y="198"/>
                  </a:cubicBezTo>
                  <a:cubicBezTo>
                    <a:pt x="663" y="188"/>
                    <a:pt x="663" y="188"/>
                    <a:pt x="663" y="188"/>
                  </a:cubicBezTo>
                  <a:cubicBezTo>
                    <a:pt x="663" y="187"/>
                    <a:pt x="663" y="187"/>
                    <a:pt x="662" y="186"/>
                  </a:cubicBezTo>
                  <a:cubicBezTo>
                    <a:pt x="657" y="179"/>
                    <a:pt x="657" y="179"/>
                    <a:pt x="657" y="179"/>
                  </a:cubicBezTo>
                  <a:cubicBezTo>
                    <a:pt x="654" y="174"/>
                    <a:pt x="649" y="171"/>
                    <a:pt x="644" y="171"/>
                  </a:cubicBezTo>
                  <a:cubicBezTo>
                    <a:pt x="607" y="171"/>
                    <a:pt x="607" y="171"/>
                    <a:pt x="607" y="171"/>
                  </a:cubicBezTo>
                  <a:cubicBezTo>
                    <a:pt x="603" y="165"/>
                    <a:pt x="603" y="165"/>
                    <a:pt x="603" y="165"/>
                  </a:cubicBezTo>
                  <a:cubicBezTo>
                    <a:pt x="603" y="165"/>
                    <a:pt x="602" y="165"/>
                    <a:pt x="602" y="165"/>
                  </a:cubicBezTo>
                  <a:cubicBezTo>
                    <a:pt x="599" y="160"/>
                    <a:pt x="599" y="160"/>
                    <a:pt x="599" y="160"/>
                  </a:cubicBezTo>
                  <a:cubicBezTo>
                    <a:pt x="610" y="126"/>
                    <a:pt x="610" y="126"/>
                    <a:pt x="610" y="126"/>
                  </a:cubicBezTo>
                  <a:cubicBezTo>
                    <a:pt x="612" y="120"/>
                    <a:pt x="610" y="113"/>
                    <a:pt x="606" y="109"/>
                  </a:cubicBezTo>
                  <a:cubicBezTo>
                    <a:pt x="591" y="94"/>
                    <a:pt x="591" y="94"/>
                    <a:pt x="591" y="94"/>
                  </a:cubicBezTo>
                  <a:cubicBezTo>
                    <a:pt x="586" y="89"/>
                    <a:pt x="580" y="88"/>
                    <a:pt x="574" y="90"/>
                  </a:cubicBezTo>
                  <a:cubicBezTo>
                    <a:pt x="540" y="101"/>
                    <a:pt x="540" y="101"/>
                    <a:pt x="540" y="101"/>
                  </a:cubicBezTo>
                  <a:cubicBezTo>
                    <a:pt x="540" y="101"/>
                    <a:pt x="539" y="101"/>
                    <a:pt x="539" y="100"/>
                  </a:cubicBezTo>
                  <a:cubicBezTo>
                    <a:pt x="533" y="97"/>
                    <a:pt x="533" y="97"/>
                    <a:pt x="533" y="97"/>
                  </a:cubicBezTo>
                  <a:cubicBezTo>
                    <a:pt x="528" y="93"/>
                    <a:pt x="528" y="93"/>
                    <a:pt x="528" y="93"/>
                  </a:cubicBezTo>
                  <a:cubicBezTo>
                    <a:pt x="528" y="56"/>
                    <a:pt x="528" y="56"/>
                    <a:pt x="528" y="56"/>
                  </a:cubicBezTo>
                  <a:cubicBezTo>
                    <a:pt x="528" y="50"/>
                    <a:pt x="525" y="44"/>
                    <a:pt x="519" y="42"/>
                  </a:cubicBezTo>
                  <a:cubicBezTo>
                    <a:pt x="509" y="37"/>
                    <a:pt x="509" y="37"/>
                    <a:pt x="509" y="37"/>
                  </a:cubicBezTo>
                  <a:cubicBezTo>
                    <a:pt x="509" y="36"/>
                    <a:pt x="509" y="36"/>
                    <a:pt x="508" y="36"/>
                  </a:cubicBezTo>
                  <a:cubicBezTo>
                    <a:pt x="499" y="32"/>
                    <a:pt x="499" y="32"/>
                    <a:pt x="499" y="32"/>
                  </a:cubicBezTo>
                  <a:cubicBezTo>
                    <a:pt x="494" y="30"/>
                    <a:pt x="488" y="31"/>
                    <a:pt x="484" y="34"/>
                  </a:cubicBezTo>
                  <a:cubicBezTo>
                    <a:pt x="454" y="55"/>
                    <a:pt x="454" y="55"/>
                    <a:pt x="454" y="55"/>
                  </a:cubicBezTo>
                  <a:cubicBezTo>
                    <a:pt x="449" y="53"/>
                    <a:pt x="449" y="53"/>
                    <a:pt x="449" y="53"/>
                  </a:cubicBezTo>
                  <a:cubicBezTo>
                    <a:pt x="448" y="52"/>
                    <a:pt x="447" y="52"/>
                    <a:pt x="447" y="52"/>
                  </a:cubicBezTo>
                  <a:cubicBezTo>
                    <a:pt x="440" y="50"/>
                    <a:pt x="440" y="50"/>
                    <a:pt x="440" y="50"/>
                  </a:cubicBezTo>
                  <a:cubicBezTo>
                    <a:pt x="428" y="16"/>
                    <a:pt x="428" y="16"/>
                    <a:pt x="428" y="16"/>
                  </a:cubicBezTo>
                  <a:cubicBezTo>
                    <a:pt x="427" y="11"/>
                    <a:pt x="422" y="7"/>
                    <a:pt x="417" y="6"/>
                  </a:cubicBezTo>
                  <a:cubicBezTo>
                    <a:pt x="407" y="3"/>
                    <a:pt x="407" y="3"/>
                    <a:pt x="407" y="3"/>
                  </a:cubicBezTo>
                  <a:cubicBezTo>
                    <a:pt x="406" y="3"/>
                    <a:pt x="405" y="3"/>
                    <a:pt x="405" y="3"/>
                  </a:cubicBezTo>
                  <a:cubicBezTo>
                    <a:pt x="394" y="1"/>
                    <a:pt x="394" y="1"/>
                    <a:pt x="394" y="1"/>
                  </a:cubicBezTo>
                  <a:cubicBezTo>
                    <a:pt x="388" y="1"/>
                    <a:pt x="383" y="3"/>
                    <a:pt x="379" y="8"/>
                  </a:cubicBezTo>
                  <a:cubicBezTo>
                    <a:pt x="359" y="38"/>
                    <a:pt x="359" y="38"/>
                    <a:pt x="359" y="38"/>
                  </a:cubicBezTo>
                  <a:cubicBezTo>
                    <a:pt x="352" y="37"/>
                    <a:pt x="352" y="37"/>
                    <a:pt x="352" y="37"/>
                  </a:cubicBezTo>
                  <a:cubicBezTo>
                    <a:pt x="352" y="37"/>
                    <a:pt x="351" y="37"/>
                    <a:pt x="350" y="37"/>
                  </a:cubicBezTo>
                  <a:cubicBezTo>
                    <a:pt x="342" y="38"/>
                    <a:pt x="342" y="38"/>
                    <a:pt x="342" y="38"/>
                  </a:cubicBezTo>
                  <a:cubicBezTo>
                    <a:pt x="322" y="8"/>
                    <a:pt x="322" y="8"/>
                    <a:pt x="322" y="8"/>
                  </a:cubicBezTo>
                  <a:cubicBezTo>
                    <a:pt x="318" y="3"/>
                    <a:pt x="312" y="0"/>
                    <a:pt x="306" y="2"/>
                  </a:cubicBezTo>
                  <a:cubicBezTo>
                    <a:pt x="285" y="5"/>
                    <a:pt x="285" y="5"/>
                    <a:pt x="285" y="5"/>
                  </a:cubicBezTo>
                  <a:cubicBezTo>
                    <a:pt x="279" y="7"/>
                    <a:pt x="275" y="11"/>
                    <a:pt x="273" y="16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1" y="50"/>
                    <a:pt x="261" y="50"/>
                    <a:pt x="261" y="50"/>
                  </a:cubicBezTo>
                  <a:cubicBezTo>
                    <a:pt x="253" y="52"/>
                    <a:pt x="253" y="52"/>
                    <a:pt x="253" y="52"/>
                  </a:cubicBezTo>
                  <a:cubicBezTo>
                    <a:pt x="253" y="52"/>
                    <a:pt x="253" y="53"/>
                    <a:pt x="253" y="53"/>
                  </a:cubicBezTo>
                  <a:cubicBezTo>
                    <a:pt x="247" y="55"/>
                    <a:pt x="247" y="55"/>
                    <a:pt x="247" y="55"/>
                  </a:cubicBezTo>
                  <a:cubicBezTo>
                    <a:pt x="217" y="34"/>
                    <a:pt x="217" y="34"/>
                    <a:pt x="217" y="34"/>
                  </a:cubicBezTo>
                  <a:cubicBezTo>
                    <a:pt x="213" y="31"/>
                    <a:pt x="207" y="30"/>
                    <a:pt x="202" y="32"/>
                  </a:cubicBezTo>
                  <a:cubicBezTo>
                    <a:pt x="193" y="36"/>
                    <a:pt x="193" y="36"/>
                    <a:pt x="193" y="36"/>
                  </a:cubicBezTo>
                  <a:cubicBezTo>
                    <a:pt x="192" y="36"/>
                    <a:pt x="192" y="36"/>
                    <a:pt x="192" y="37"/>
                  </a:cubicBezTo>
                  <a:cubicBezTo>
                    <a:pt x="181" y="42"/>
                    <a:pt x="181" y="42"/>
                    <a:pt x="181" y="42"/>
                  </a:cubicBezTo>
                  <a:cubicBezTo>
                    <a:pt x="176" y="45"/>
                    <a:pt x="172" y="50"/>
                    <a:pt x="173" y="57"/>
                  </a:cubicBezTo>
                  <a:cubicBezTo>
                    <a:pt x="174" y="93"/>
                    <a:pt x="174" y="93"/>
                    <a:pt x="174" y="93"/>
                  </a:cubicBezTo>
                  <a:cubicBezTo>
                    <a:pt x="162" y="101"/>
                    <a:pt x="162" y="101"/>
                    <a:pt x="162" y="101"/>
                  </a:cubicBezTo>
                  <a:cubicBezTo>
                    <a:pt x="127" y="90"/>
                    <a:pt x="127" y="90"/>
                    <a:pt x="127" y="90"/>
                  </a:cubicBezTo>
                  <a:cubicBezTo>
                    <a:pt x="121" y="88"/>
                    <a:pt x="115" y="89"/>
                    <a:pt x="110" y="94"/>
                  </a:cubicBezTo>
                  <a:cubicBezTo>
                    <a:pt x="95" y="109"/>
                    <a:pt x="95" y="109"/>
                    <a:pt x="95" y="109"/>
                  </a:cubicBezTo>
                  <a:cubicBezTo>
                    <a:pt x="90" y="113"/>
                    <a:pt x="89" y="120"/>
                    <a:pt x="91" y="126"/>
                  </a:cubicBezTo>
                  <a:cubicBezTo>
                    <a:pt x="102" y="159"/>
                    <a:pt x="102" y="159"/>
                    <a:pt x="102" y="159"/>
                  </a:cubicBezTo>
                  <a:cubicBezTo>
                    <a:pt x="102" y="159"/>
                    <a:pt x="102" y="160"/>
                    <a:pt x="101" y="160"/>
                  </a:cubicBezTo>
                  <a:cubicBezTo>
                    <a:pt x="98" y="166"/>
                    <a:pt x="98" y="166"/>
                    <a:pt x="98" y="166"/>
                  </a:cubicBezTo>
                  <a:cubicBezTo>
                    <a:pt x="94" y="171"/>
                    <a:pt x="94" y="171"/>
                    <a:pt x="94" y="171"/>
                  </a:cubicBezTo>
                  <a:cubicBezTo>
                    <a:pt x="57" y="171"/>
                    <a:pt x="57" y="171"/>
                    <a:pt x="57" y="171"/>
                  </a:cubicBezTo>
                  <a:cubicBezTo>
                    <a:pt x="52" y="171"/>
                    <a:pt x="47" y="174"/>
                    <a:pt x="44" y="179"/>
                  </a:cubicBezTo>
                  <a:cubicBezTo>
                    <a:pt x="39" y="186"/>
                    <a:pt x="39" y="186"/>
                    <a:pt x="39" y="186"/>
                  </a:cubicBezTo>
                  <a:cubicBezTo>
                    <a:pt x="38" y="187"/>
                    <a:pt x="38" y="187"/>
                    <a:pt x="38" y="188"/>
                  </a:cubicBezTo>
                  <a:cubicBezTo>
                    <a:pt x="32" y="198"/>
                    <a:pt x="32" y="198"/>
                    <a:pt x="32" y="198"/>
                  </a:cubicBezTo>
                  <a:cubicBezTo>
                    <a:pt x="30" y="204"/>
                    <a:pt x="30" y="211"/>
                    <a:pt x="34" y="215"/>
                  </a:cubicBezTo>
                  <a:cubicBezTo>
                    <a:pt x="56" y="243"/>
                    <a:pt x="56" y="243"/>
                    <a:pt x="56" y="243"/>
                  </a:cubicBezTo>
                  <a:cubicBezTo>
                    <a:pt x="53" y="251"/>
                    <a:pt x="53" y="251"/>
                    <a:pt x="53" y="251"/>
                  </a:cubicBezTo>
                  <a:cubicBezTo>
                    <a:pt x="53" y="251"/>
                    <a:pt x="53" y="252"/>
                    <a:pt x="53" y="252"/>
                  </a:cubicBezTo>
                  <a:cubicBezTo>
                    <a:pt x="52" y="258"/>
                    <a:pt x="52" y="258"/>
                    <a:pt x="52" y="258"/>
                  </a:cubicBezTo>
                  <a:cubicBezTo>
                    <a:pt x="17" y="269"/>
                    <a:pt x="17" y="269"/>
                    <a:pt x="17" y="269"/>
                  </a:cubicBezTo>
                  <a:cubicBezTo>
                    <a:pt x="11" y="270"/>
                    <a:pt x="7" y="275"/>
                    <a:pt x="5" y="280"/>
                  </a:cubicBezTo>
                  <a:cubicBezTo>
                    <a:pt x="3" y="291"/>
                    <a:pt x="3" y="291"/>
                    <a:pt x="3" y="291"/>
                  </a:cubicBezTo>
                  <a:cubicBezTo>
                    <a:pt x="3" y="291"/>
                    <a:pt x="3" y="292"/>
                    <a:pt x="2" y="293"/>
                  </a:cubicBezTo>
                  <a:cubicBezTo>
                    <a:pt x="1" y="304"/>
                    <a:pt x="1" y="304"/>
                    <a:pt x="1" y="304"/>
                  </a:cubicBezTo>
                  <a:cubicBezTo>
                    <a:pt x="1" y="310"/>
                    <a:pt x="3" y="316"/>
                    <a:pt x="9" y="320"/>
                  </a:cubicBezTo>
                  <a:cubicBezTo>
                    <a:pt x="39" y="339"/>
                    <a:pt x="39" y="339"/>
                    <a:pt x="39" y="339"/>
                  </a:cubicBezTo>
                  <a:cubicBezTo>
                    <a:pt x="39" y="345"/>
                    <a:pt x="39" y="345"/>
                    <a:pt x="39" y="345"/>
                  </a:cubicBezTo>
                  <a:cubicBezTo>
                    <a:pt x="38" y="346"/>
                    <a:pt x="38" y="346"/>
                    <a:pt x="39" y="347"/>
                  </a:cubicBezTo>
                  <a:cubicBezTo>
                    <a:pt x="39" y="353"/>
                    <a:pt x="39" y="353"/>
                    <a:pt x="39" y="353"/>
                  </a:cubicBezTo>
                  <a:cubicBezTo>
                    <a:pt x="8" y="374"/>
                    <a:pt x="8" y="374"/>
                    <a:pt x="8" y="374"/>
                  </a:cubicBezTo>
                  <a:cubicBezTo>
                    <a:pt x="3" y="377"/>
                    <a:pt x="0" y="384"/>
                    <a:pt x="1" y="390"/>
                  </a:cubicBezTo>
                  <a:cubicBezTo>
                    <a:pt x="5" y="411"/>
                    <a:pt x="5" y="411"/>
                    <a:pt x="5" y="411"/>
                  </a:cubicBezTo>
                  <a:cubicBezTo>
                    <a:pt x="6" y="417"/>
                    <a:pt x="10" y="421"/>
                    <a:pt x="16" y="423"/>
                  </a:cubicBezTo>
                  <a:cubicBezTo>
                    <a:pt x="52" y="435"/>
                    <a:pt x="52" y="435"/>
                    <a:pt x="52" y="435"/>
                  </a:cubicBezTo>
                  <a:cubicBezTo>
                    <a:pt x="53" y="440"/>
                    <a:pt x="53" y="440"/>
                    <a:pt x="53" y="440"/>
                  </a:cubicBezTo>
                  <a:cubicBezTo>
                    <a:pt x="53" y="441"/>
                    <a:pt x="53" y="442"/>
                    <a:pt x="54" y="443"/>
                  </a:cubicBezTo>
                  <a:cubicBezTo>
                    <a:pt x="56" y="449"/>
                    <a:pt x="56" y="449"/>
                    <a:pt x="56" y="449"/>
                  </a:cubicBezTo>
                  <a:cubicBezTo>
                    <a:pt x="34" y="478"/>
                    <a:pt x="34" y="478"/>
                    <a:pt x="34" y="478"/>
                  </a:cubicBezTo>
                  <a:cubicBezTo>
                    <a:pt x="30" y="483"/>
                    <a:pt x="30" y="490"/>
                    <a:pt x="33" y="496"/>
                  </a:cubicBezTo>
                  <a:cubicBezTo>
                    <a:pt x="43" y="514"/>
                    <a:pt x="43" y="514"/>
                    <a:pt x="43" y="514"/>
                  </a:cubicBezTo>
                  <a:cubicBezTo>
                    <a:pt x="46" y="519"/>
                    <a:pt x="52" y="522"/>
                    <a:pt x="58" y="522"/>
                  </a:cubicBezTo>
                  <a:cubicBezTo>
                    <a:pt x="94" y="521"/>
                    <a:pt x="94" y="521"/>
                    <a:pt x="94" y="521"/>
                  </a:cubicBezTo>
                  <a:cubicBezTo>
                    <a:pt x="98" y="527"/>
                    <a:pt x="98" y="527"/>
                    <a:pt x="98" y="527"/>
                  </a:cubicBezTo>
                  <a:cubicBezTo>
                    <a:pt x="98" y="528"/>
                    <a:pt x="98" y="528"/>
                    <a:pt x="99" y="529"/>
                  </a:cubicBezTo>
                  <a:cubicBezTo>
                    <a:pt x="102" y="533"/>
                    <a:pt x="102" y="533"/>
                    <a:pt x="102" y="533"/>
                  </a:cubicBezTo>
                  <a:cubicBezTo>
                    <a:pt x="91" y="568"/>
                    <a:pt x="91" y="568"/>
                    <a:pt x="91" y="568"/>
                  </a:cubicBezTo>
                  <a:cubicBezTo>
                    <a:pt x="89" y="573"/>
                    <a:pt x="90" y="580"/>
                    <a:pt x="95" y="584"/>
                  </a:cubicBezTo>
                  <a:cubicBezTo>
                    <a:pt x="110" y="600"/>
                    <a:pt x="110" y="600"/>
                    <a:pt x="110" y="600"/>
                  </a:cubicBezTo>
                  <a:cubicBezTo>
                    <a:pt x="115" y="604"/>
                    <a:pt x="121" y="605"/>
                    <a:pt x="127" y="603"/>
                  </a:cubicBezTo>
                  <a:cubicBezTo>
                    <a:pt x="162" y="592"/>
                    <a:pt x="162" y="592"/>
                    <a:pt x="162" y="592"/>
                  </a:cubicBezTo>
                  <a:cubicBezTo>
                    <a:pt x="167" y="596"/>
                    <a:pt x="167" y="596"/>
                    <a:pt x="167" y="596"/>
                  </a:cubicBezTo>
                  <a:cubicBezTo>
                    <a:pt x="167" y="596"/>
                    <a:pt x="168" y="596"/>
                    <a:pt x="168" y="596"/>
                  </a:cubicBezTo>
                  <a:cubicBezTo>
                    <a:pt x="174" y="600"/>
                    <a:pt x="174" y="600"/>
                    <a:pt x="174" y="600"/>
                  </a:cubicBezTo>
                  <a:cubicBezTo>
                    <a:pt x="173" y="635"/>
                    <a:pt x="173" y="635"/>
                    <a:pt x="173" y="635"/>
                  </a:cubicBezTo>
                  <a:cubicBezTo>
                    <a:pt x="172" y="641"/>
                    <a:pt x="175" y="647"/>
                    <a:pt x="180" y="650"/>
                  </a:cubicBezTo>
                  <a:cubicBezTo>
                    <a:pt x="190" y="656"/>
                    <a:pt x="190" y="656"/>
                    <a:pt x="190" y="656"/>
                  </a:cubicBezTo>
                  <a:cubicBezTo>
                    <a:pt x="191" y="656"/>
                    <a:pt x="192" y="657"/>
                    <a:pt x="193" y="657"/>
                  </a:cubicBezTo>
                  <a:cubicBezTo>
                    <a:pt x="202" y="661"/>
                    <a:pt x="202" y="661"/>
                    <a:pt x="202" y="661"/>
                  </a:cubicBezTo>
                  <a:cubicBezTo>
                    <a:pt x="207" y="663"/>
                    <a:pt x="213" y="663"/>
                    <a:pt x="218" y="659"/>
                  </a:cubicBezTo>
                  <a:cubicBezTo>
                    <a:pt x="245" y="638"/>
                    <a:pt x="245" y="638"/>
                    <a:pt x="245" y="638"/>
                  </a:cubicBezTo>
                  <a:cubicBezTo>
                    <a:pt x="246" y="639"/>
                    <a:pt x="247" y="639"/>
                    <a:pt x="248" y="639"/>
                  </a:cubicBezTo>
                  <a:cubicBezTo>
                    <a:pt x="254" y="640"/>
                    <a:pt x="254" y="640"/>
                    <a:pt x="254" y="640"/>
                  </a:cubicBezTo>
                  <a:cubicBezTo>
                    <a:pt x="261" y="642"/>
                    <a:pt x="261" y="642"/>
                    <a:pt x="261" y="642"/>
                  </a:cubicBezTo>
                  <a:cubicBezTo>
                    <a:pt x="273" y="677"/>
                    <a:pt x="273" y="677"/>
                    <a:pt x="273" y="677"/>
                  </a:cubicBezTo>
                  <a:cubicBezTo>
                    <a:pt x="275" y="683"/>
                    <a:pt x="280" y="687"/>
                    <a:pt x="286" y="688"/>
                  </a:cubicBezTo>
                  <a:cubicBezTo>
                    <a:pt x="307" y="691"/>
                    <a:pt x="307" y="691"/>
                    <a:pt x="307" y="691"/>
                  </a:cubicBezTo>
                  <a:cubicBezTo>
                    <a:pt x="312" y="691"/>
                    <a:pt x="318" y="689"/>
                    <a:pt x="322" y="684"/>
                  </a:cubicBezTo>
                  <a:cubicBezTo>
                    <a:pt x="343" y="655"/>
                    <a:pt x="343" y="655"/>
                    <a:pt x="343" y="655"/>
                  </a:cubicBezTo>
                  <a:cubicBezTo>
                    <a:pt x="358" y="655"/>
                    <a:pt x="358" y="655"/>
                    <a:pt x="358" y="655"/>
                  </a:cubicBezTo>
                  <a:cubicBezTo>
                    <a:pt x="379" y="684"/>
                    <a:pt x="379" y="684"/>
                    <a:pt x="379" y="684"/>
                  </a:cubicBezTo>
                  <a:cubicBezTo>
                    <a:pt x="382" y="688"/>
                    <a:pt x="387" y="691"/>
                    <a:pt x="392" y="691"/>
                  </a:cubicBezTo>
                  <a:cubicBezTo>
                    <a:pt x="393" y="691"/>
                    <a:pt x="394" y="691"/>
                    <a:pt x="394" y="691"/>
                  </a:cubicBezTo>
                  <a:cubicBezTo>
                    <a:pt x="415" y="688"/>
                    <a:pt x="415" y="688"/>
                    <a:pt x="415" y="688"/>
                  </a:cubicBezTo>
                  <a:cubicBezTo>
                    <a:pt x="421" y="687"/>
                    <a:pt x="426" y="683"/>
                    <a:pt x="428" y="677"/>
                  </a:cubicBezTo>
                  <a:cubicBezTo>
                    <a:pt x="440" y="642"/>
                    <a:pt x="440" y="642"/>
                    <a:pt x="440" y="642"/>
                  </a:cubicBezTo>
                  <a:cubicBezTo>
                    <a:pt x="448" y="640"/>
                    <a:pt x="448" y="640"/>
                    <a:pt x="448" y="640"/>
                  </a:cubicBezTo>
                  <a:cubicBezTo>
                    <a:pt x="448" y="640"/>
                    <a:pt x="448" y="639"/>
                    <a:pt x="448" y="639"/>
                  </a:cubicBezTo>
                  <a:cubicBezTo>
                    <a:pt x="454" y="637"/>
                    <a:pt x="454" y="637"/>
                    <a:pt x="454" y="637"/>
                  </a:cubicBezTo>
                  <a:cubicBezTo>
                    <a:pt x="483" y="659"/>
                    <a:pt x="483" y="659"/>
                    <a:pt x="483" y="659"/>
                  </a:cubicBezTo>
                  <a:cubicBezTo>
                    <a:pt x="488" y="663"/>
                    <a:pt x="494" y="663"/>
                    <a:pt x="499" y="661"/>
                  </a:cubicBezTo>
                  <a:cubicBezTo>
                    <a:pt x="508" y="657"/>
                    <a:pt x="508" y="657"/>
                    <a:pt x="508" y="657"/>
                  </a:cubicBezTo>
                  <a:cubicBezTo>
                    <a:pt x="509" y="657"/>
                    <a:pt x="510" y="656"/>
                    <a:pt x="510" y="656"/>
                  </a:cubicBezTo>
                  <a:cubicBezTo>
                    <a:pt x="521" y="650"/>
                    <a:pt x="521" y="650"/>
                    <a:pt x="521" y="650"/>
                  </a:cubicBezTo>
                  <a:cubicBezTo>
                    <a:pt x="525" y="647"/>
                    <a:pt x="528" y="641"/>
                    <a:pt x="528" y="636"/>
                  </a:cubicBezTo>
                  <a:cubicBezTo>
                    <a:pt x="528" y="600"/>
                    <a:pt x="528" y="600"/>
                    <a:pt x="528" y="600"/>
                  </a:cubicBezTo>
                  <a:cubicBezTo>
                    <a:pt x="533" y="596"/>
                    <a:pt x="533" y="596"/>
                    <a:pt x="533" y="596"/>
                  </a:cubicBezTo>
                  <a:cubicBezTo>
                    <a:pt x="539" y="592"/>
                    <a:pt x="539" y="592"/>
                    <a:pt x="539" y="592"/>
                  </a:cubicBezTo>
                  <a:cubicBezTo>
                    <a:pt x="574" y="603"/>
                    <a:pt x="574" y="603"/>
                    <a:pt x="574" y="603"/>
                  </a:cubicBezTo>
                  <a:cubicBezTo>
                    <a:pt x="580" y="605"/>
                    <a:pt x="586" y="604"/>
                    <a:pt x="591" y="600"/>
                  </a:cubicBezTo>
                  <a:cubicBezTo>
                    <a:pt x="606" y="584"/>
                    <a:pt x="606" y="584"/>
                    <a:pt x="606" y="584"/>
                  </a:cubicBezTo>
                  <a:cubicBezTo>
                    <a:pt x="610" y="580"/>
                    <a:pt x="612" y="573"/>
                    <a:pt x="610" y="568"/>
                  </a:cubicBezTo>
                  <a:cubicBezTo>
                    <a:pt x="599" y="533"/>
                    <a:pt x="599" y="533"/>
                    <a:pt x="599" y="533"/>
                  </a:cubicBezTo>
                  <a:cubicBezTo>
                    <a:pt x="602" y="528"/>
                    <a:pt x="602" y="528"/>
                    <a:pt x="602" y="528"/>
                  </a:cubicBezTo>
                  <a:cubicBezTo>
                    <a:pt x="603" y="528"/>
                    <a:pt x="603" y="528"/>
                    <a:pt x="603" y="527"/>
                  </a:cubicBezTo>
                  <a:cubicBezTo>
                    <a:pt x="607" y="521"/>
                    <a:pt x="607" y="521"/>
                    <a:pt x="607" y="521"/>
                  </a:cubicBezTo>
                  <a:cubicBezTo>
                    <a:pt x="643" y="522"/>
                    <a:pt x="643" y="522"/>
                    <a:pt x="643" y="522"/>
                  </a:cubicBezTo>
                  <a:cubicBezTo>
                    <a:pt x="649" y="522"/>
                    <a:pt x="655" y="519"/>
                    <a:pt x="658" y="514"/>
                  </a:cubicBezTo>
                  <a:cubicBezTo>
                    <a:pt x="668" y="496"/>
                    <a:pt x="668" y="496"/>
                    <a:pt x="668" y="496"/>
                  </a:cubicBezTo>
                  <a:cubicBezTo>
                    <a:pt x="671" y="490"/>
                    <a:pt x="671" y="483"/>
                    <a:pt x="667" y="478"/>
                  </a:cubicBezTo>
                  <a:cubicBezTo>
                    <a:pt x="645" y="449"/>
                    <a:pt x="645" y="449"/>
                    <a:pt x="645" y="449"/>
                  </a:cubicBezTo>
                  <a:cubicBezTo>
                    <a:pt x="647" y="443"/>
                    <a:pt x="647" y="443"/>
                    <a:pt x="647" y="443"/>
                  </a:cubicBezTo>
                  <a:cubicBezTo>
                    <a:pt x="647" y="443"/>
                    <a:pt x="648" y="442"/>
                    <a:pt x="648" y="441"/>
                  </a:cubicBezTo>
                  <a:cubicBezTo>
                    <a:pt x="649" y="435"/>
                    <a:pt x="649" y="435"/>
                    <a:pt x="649" y="435"/>
                  </a:cubicBezTo>
                  <a:cubicBezTo>
                    <a:pt x="685" y="423"/>
                    <a:pt x="685" y="423"/>
                    <a:pt x="685" y="423"/>
                  </a:cubicBezTo>
                  <a:cubicBezTo>
                    <a:pt x="691" y="421"/>
                    <a:pt x="695" y="416"/>
                    <a:pt x="696" y="410"/>
                  </a:cubicBezTo>
                  <a:cubicBezTo>
                    <a:pt x="698" y="389"/>
                    <a:pt x="698" y="389"/>
                    <a:pt x="698" y="389"/>
                  </a:cubicBezTo>
                  <a:cubicBezTo>
                    <a:pt x="699" y="383"/>
                    <a:pt x="697" y="377"/>
                    <a:pt x="692" y="37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CH" sz="1600" dirty="0"/>
            </a:p>
          </p:txBody>
        </p:sp>
        <p:sp>
          <p:nvSpPr>
            <p:cNvPr id="12" name="Oval 15">
              <a:extLst>
                <a:ext uri="{FF2B5EF4-FFF2-40B4-BE49-F238E27FC236}">
                  <a16:creationId xmlns:a16="http://schemas.microsoft.com/office/drawing/2014/main" id="{DC2694D3-8C8A-49EE-80A5-59A47F0D7220}"/>
                </a:ext>
              </a:extLst>
            </p:cNvPr>
            <p:cNvSpPr/>
            <p:nvPr/>
          </p:nvSpPr>
          <p:spPr>
            <a:xfrm>
              <a:off x="11696315" y="6362315"/>
              <a:ext cx="359032" cy="35903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</p:grpSp>
    </p:spTree>
    <p:extLst>
      <p:ext uri="{BB962C8B-B14F-4D97-AF65-F5344CB8AC3E}">
        <p14:creationId xmlns:p14="http://schemas.microsoft.com/office/powerpoint/2010/main" val="17886187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5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r-C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CH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CH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A13FF3-A3B4-402D-91B1-C176C247EB92}" type="datetimeFigureOut">
              <a:rPr lang="fr-CH" smtClean="0"/>
              <a:t>05.04.2019</a:t>
            </a:fld>
            <a:endParaRPr lang="fr-CH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H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107053-0274-46BF-A48C-B751F6C03B80}" type="slidenum">
              <a:rPr lang="fr-CH" smtClean="0"/>
              <a:t>‹N°›</a:t>
            </a:fld>
            <a:endParaRPr lang="fr-CH"/>
          </a:p>
        </p:txBody>
      </p:sp>
      <p:sp>
        <p:nvSpPr>
          <p:cNvPr id="10" name="Freeform 9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" name="Freeform 10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" name="Freeform 11"/>
          <p:cNvSpPr/>
          <p:nvPr userDrawn="1"/>
        </p:nvSpPr>
        <p:spPr bwMode="gray">
          <a:xfrm>
            <a:off x="152401" y="64843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" name="Freeform 12"/>
          <p:cNvSpPr/>
          <p:nvPr userDrawn="1"/>
        </p:nvSpPr>
        <p:spPr bwMode="gray">
          <a:xfrm>
            <a:off x="152401" y="49635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14" name="Group 12">
            <a:extLst>
              <a:ext uri="{FF2B5EF4-FFF2-40B4-BE49-F238E27FC236}">
                <a16:creationId xmlns:a16="http://schemas.microsoft.com/office/drawing/2014/main" id="{D789B6AC-825A-4EEE-B781-4077656EE2E2}"/>
              </a:ext>
            </a:extLst>
          </p:cNvPr>
          <p:cNvGrpSpPr/>
          <p:nvPr userDrawn="1"/>
        </p:nvGrpSpPr>
        <p:grpSpPr>
          <a:xfrm>
            <a:off x="11588238" y="6254238"/>
            <a:ext cx="575187" cy="575187"/>
            <a:chOff x="11588238" y="6254238"/>
            <a:chExt cx="575187" cy="575187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F80734E6-1F92-40FC-A794-1EF587D96129}"/>
                </a:ext>
              </a:extLst>
            </p:cNvPr>
            <p:cNvSpPr>
              <a:spLocks/>
            </p:cNvSpPr>
            <p:nvPr>
              <p:custDataLst>
                <p:tags r:id="rId1"/>
              </p:custDataLst>
            </p:nvPr>
          </p:nvSpPr>
          <p:spPr bwMode="gray">
            <a:xfrm>
              <a:off x="11588238" y="6254238"/>
              <a:ext cx="575187" cy="575187"/>
            </a:xfrm>
            <a:custGeom>
              <a:avLst/>
              <a:gdLst>
                <a:gd name="T0" fmla="*/ 662 w 699"/>
                <a:gd name="T1" fmla="*/ 347 h 691"/>
                <a:gd name="T2" fmla="*/ 691 w 699"/>
                <a:gd name="T3" fmla="*/ 320 h 691"/>
                <a:gd name="T4" fmla="*/ 684 w 699"/>
                <a:gd name="T5" fmla="*/ 269 h 691"/>
                <a:gd name="T6" fmla="*/ 645 w 699"/>
                <a:gd name="T7" fmla="*/ 243 h 691"/>
                <a:gd name="T8" fmla="*/ 663 w 699"/>
                <a:gd name="T9" fmla="*/ 188 h 691"/>
                <a:gd name="T10" fmla="*/ 644 w 699"/>
                <a:gd name="T11" fmla="*/ 171 h 691"/>
                <a:gd name="T12" fmla="*/ 602 w 699"/>
                <a:gd name="T13" fmla="*/ 165 h 691"/>
                <a:gd name="T14" fmla="*/ 606 w 699"/>
                <a:gd name="T15" fmla="*/ 109 h 691"/>
                <a:gd name="T16" fmla="*/ 540 w 699"/>
                <a:gd name="T17" fmla="*/ 101 h 691"/>
                <a:gd name="T18" fmla="*/ 528 w 699"/>
                <a:gd name="T19" fmla="*/ 93 h 691"/>
                <a:gd name="T20" fmla="*/ 509 w 699"/>
                <a:gd name="T21" fmla="*/ 37 h 691"/>
                <a:gd name="T22" fmla="*/ 484 w 699"/>
                <a:gd name="T23" fmla="*/ 34 h 691"/>
                <a:gd name="T24" fmla="*/ 447 w 699"/>
                <a:gd name="T25" fmla="*/ 52 h 691"/>
                <a:gd name="T26" fmla="*/ 417 w 699"/>
                <a:gd name="T27" fmla="*/ 6 h 691"/>
                <a:gd name="T28" fmla="*/ 394 w 699"/>
                <a:gd name="T29" fmla="*/ 1 h 691"/>
                <a:gd name="T30" fmla="*/ 352 w 699"/>
                <a:gd name="T31" fmla="*/ 37 h 691"/>
                <a:gd name="T32" fmla="*/ 322 w 699"/>
                <a:gd name="T33" fmla="*/ 8 h 691"/>
                <a:gd name="T34" fmla="*/ 273 w 699"/>
                <a:gd name="T35" fmla="*/ 16 h 691"/>
                <a:gd name="T36" fmla="*/ 253 w 699"/>
                <a:gd name="T37" fmla="*/ 52 h 691"/>
                <a:gd name="T38" fmla="*/ 217 w 699"/>
                <a:gd name="T39" fmla="*/ 34 h 691"/>
                <a:gd name="T40" fmla="*/ 192 w 699"/>
                <a:gd name="T41" fmla="*/ 37 h 691"/>
                <a:gd name="T42" fmla="*/ 174 w 699"/>
                <a:gd name="T43" fmla="*/ 93 h 691"/>
                <a:gd name="T44" fmla="*/ 110 w 699"/>
                <a:gd name="T45" fmla="*/ 94 h 691"/>
                <a:gd name="T46" fmla="*/ 102 w 699"/>
                <a:gd name="T47" fmla="*/ 159 h 691"/>
                <a:gd name="T48" fmla="*/ 94 w 699"/>
                <a:gd name="T49" fmla="*/ 171 h 691"/>
                <a:gd name="T50" fmla="*/ 39 w 699"/>
                <a:gd name="T51" fmla="*/ 186 h 691"/>
                <a:gd name="T52" fmla="*/ 34 w 699"/>
                <a:gd name="T53" fmla="*/ 215 h 691"/>
                <a:gd name="T54" fmla="*/ 53 w 699"/>
                <a:gd name="T55" fmla="*/ 252 h 691"/>
                <a:gd name="T56" fmla="*/ 5 w 699"/>
                <a:gd name="T57" fmla="*/ 280 h 691"/>
                <a:gd name="T58" fmla="*/ 1 w 699"/>
                <a:gd name="T59" fmla="*/ 304 h 691"/>
                <a:gd name="T60" fmla="*/ 39 w 699"/>
                <a:gd name="T61" fmla="*/ 345 h 691"/>
                <a:gd name="T62" fmla="*/ 8 w 699"/>
                <a:gd name="T63" fmla="*/ 374 h 691"/>
                <a:gd name="T64" fmla="*/ 16 w 699"/>
                <a:gd name="T65" fmla="*/ 423 h 691"/>
                <a:gd name="T66" fmla="*/ 54 w 699"/>
                <a:gd name="T67" fmla="*/ 443 h 691"/>
                <a:gd name="T68" fmla="*/ 33 w 699"/>
                <a:gd name="T69" fmla="*/ 496 h 691"/>
                <a:gd name="T70" fmla="*/ 94 w 699"/>
                <a:gd name="T71" fmla="*/ 521 h 691"/>
                <a:gd name="T72" fmla="*/ 102 w 699"/>
                <a:gd name="T73" fmla="*/ 533 h 691"/>
                <a:gd name="T74" fmla="*/ 110 w 699"/>
                <a:gd name="T75" fmla="*/ 600 h 691"/>
                <a:gd name="T76" fmla="*/ 167 w 699"/>
                <a:gd name="T77" fmla="*/ 596 h 691"/>
                <a:gd name="T78" fmla="*/ 173 w 699"/>
                <a:gd name="T79" fmla="*/ 635 h 691"/>
                <a:gd name="T80" fmla="*/ 193 w 699"/>
                <a:gd name="T81" fmla="*/ 657 h 691"/>
                <a:gd name="T82" fmla="*/ 245 w 699"/>
                <a:gd name="T83" fmla="*/ 638 h 691"/>
                <a:gd name="T84" fmla="*/ 261 w 699"/>
                <a:gd name="T85" fmla="*/ 642 h 691"/>
                <a:gd name="T86" fmla="*/ 307 w 699"/>
                <a:gd name="T87" fmla="*/ 691 h 691"/>
                <a:gd name="T88" fmla="*/ 358 w 699"/>
                <a:gd name="T89" fmla="*/ 655 h 691"/>
                <a:gd name="T90" fmla="*/ 394 w 699"/>
                <a:gd name="T91" fmla="*/ 691 h 691"/>
                <a:gd name="T92" fmla="*/ 440 w 699"/>
                <a:gd name="T93" fmla="*/ 642 h 691"/>
                <a:gd name="T94" fmla="*/ 454 w 699"/>
                <a:gd name="T95" fmla="*/ 637 h 691"/>
                <a:gd name="T96" fmla="*/ 508 w 699"/>
                <a:gd name="T97" fmla="*/ 657 h 691"/>
                <a:gd name="T98" fmla="*/ 528 w 699"/>
                <a:gd name="T99" fmla="*/ 636 h 691"/>
                <a:gd name="T100" fmla="*/ 539 w 699"/>
                <a:gd name="T101" fmla="*/ 592 h 691"/>
                <a:gd name="T102" fmla="*/ 606 w 699"/>
                <a:gd name="T103" fmla="*/ 584 h 691"/>
                <a:gd name="T104" fmla="*/ 602 w 699"/>
                <a:gd name="T105" fmla="*/ 528 h 691"/>
                <a:gd name="T106" fmla="*/ 643 w 699"/>
                <a:gd name="T107" fmla="*/ 522 h 691"/>
                <a:gd name="T108" fmla="*/ 667 w 699"/>
                <a:gd name="T109" fmla="*/ 478 h 691"/>
                <a:gd name="T110" fmla="*/ 648 w 699"/>
                <a:gd name="T111" fmla="*/ 441 h 691"/>
                <a:gd name="T112" fmla="*/ 696 w 699"/>
                <a:gd name="T113" fmla="*/ 410 h 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99" h="691">
                  <a:moveTo>
                    <a:pt x="692" y="374"/>
                  </a:moveTo>
                  <a:cubicBezTo>
                    <a:pt x="662" y="354"/>
                    <a:pt x="662" y="354"/>
                    <a:pt x="662" y="354"/>
                  </a:cubicBezTo>
                  <a:cubicBezTo>
                    <a:pt x="662" y="347"/>
                    <a:pt x="662" y="347"/>
                    <a:pt x="662" y="347"/>
                  </a:cubicBezTo>
                  <a:cubicBezTo>
                    <a:pt x="662" y="346"/>
                    <a:pt x="662" y="346"/>
                    <a:pt x="662" y="345"/>
                  </a:cubicBezTo>
                  <a:cubicBezTo>
                    <a:pt x="662" y="339"/>
                    <a:pt x="662" y="339"/>
                    <a:pt x="662" y="339"/>
                  </a:cubicBezTo>
                  <a:cubicBezTo>
                    <a:pt x="691" y="320"/>
                    <a:pt x="691" y="320"/>
                    <a:pt x="691" y="320"/>
                  </a:cubicBezTo>
                  <a:cubicBezTo>
                    <a:pt x="696" y="316"/>
                    <a:pt x="699" y="310"/>
                    <a:pt x="698" y="304"/>
                  </a:cubicBezTo>
                  <a:cubicBezTo>
                    <a:pt x="696" y="282"/>
                    <a:pt x="696" y="282"/>
                    <a:pt x="696" y="282"/>
                  </a:cubicBezTo>
                  <a:cubicBezTo>
                    <a:pt x="695" y="276"/>
                    <a:pt x="691" y="271"/>
                    <a:pt x="684" y="269"/>
                  </a:cubicBezTo>
                  <a:cubicBezTo>
                    <a:pt x="650" y="259"/>
                    <a:pt x="650" y="259"/>
                    <a:pt x="650" y="259"/>
                  </a:cubicBezTo>
                  <a:cubicBezTo>
                    <a:pt x="650" y="259"/>
                    <a:pt x="650" y="259"/>
                    <a:pt x="650" y="258"/>
                  </a:cubicBezTo>
                  <a:cubicBezTo>
                    <a:pt x="645" y="243"/>
                    <a:pt x="645" y="243"/>
                    <a:pt x="645" y="243"/>
                  </a:cubicBezTo>
                  <a:cubicBezTo>
                    <a:pt x="667" y="215"/>
                    <a:pt x="667" y="215"/>
                    <a:pt x="667" y="215"/>
                  </a:cubicBezTo>
                  <a:cubicBezTo>
                    <a:pt x="671" y="211"/>
                    <a:pt x="671" y="204"/>
                    <a:pt x="668" y="198"/>
                  </a:cubicBezTo>
                  <a:cubicBezTo>
                    <a:pt x="663" y="188"/>
                    <a:pt x="663" y="188"/>
                    <a:pt x="663" y="188"/>
                  </a:cubicBezTo>
                  <a:cubicBezTo>
                    <a:pt x="663" y="187"/>
                    <a:pt x="663" y="187"/>
                    <a:pt x="662" y="186"/>
                  </a:cubicBezTo>
                  <a:cubicBezTo>
                    <a:pt x="657" y="179"/>
                    <a:pt x="657" y="179"/>
                    <a:pt x="657" y="179"/>
                  </a:cubicBezTo>
                  <a:cubicBezTo>
                    <a:pt x="654" y="174"/>
                    <a:pt x="649" y="171"/>
                    <a:pt x="644" y="171"/>
                  </a:cubicBezTo>
                  <a:cubicBezTo>
                    <a:pt x="607" y="171"/>
                    <a:pt x="607" y="171"/>
                    <a:pt x="607" y="171"/>
                  </a:cubicBezTo>
                  <a:cubicBezTo>
                    <a:pt x="603" y="165"/>
                    <a:pt x="603" y="165"/>
                    <a:pt x="603" y="165"/>
                  </a:cubicBezTo>
                  <a:cubicBezTo>
                    <a:pt x="603" y="165"/>
                    <a:pt x="602" y="165"/>
                    <a:pt x="602" y="165"/>
                  </a:cubicBezTo>
                  <a:cubicBezTo>
                    <a:pt x="599" y="160"/>
                    <a:pt x="599" y="160"/>
                    <a:pt x="599" y="160"/>
                  </a:cubicBezTo>
                  <a:cubicBezTo>
                    <a:pt x="610" y="126"/>
                    <a:pt x="610" y="126"/>
                    <a:pt x="610" y="126"/>
                  </a:cubicBezTo>
                  <a:cubicBezTo>
                    <a:pt x="612" y="120"/>
                    <a:pt x="610" y="113"/>
                    <a:pt x="606" y="109"/>
                  </a:cubicBezTo>
                  <a:cubicBezTo>
                    <a:pt x="591" y="94"/>
                    <a:pt x="591" y="94"/>
                    <a:pt x="591" y="94"/>
                  </a:cubicBezTo>
                  <a:cubicBezTo>
                    <a:pt x="586" y="89"/>
                    <a:pt x="580" y="88"/>
                    <a:pt x="574" y="90"/>
                  </a:cubicBezTo>
                  <a:cubicBezTo>
                    <a:pt x="540" y="101"/>
                    <a:pt x="540" y="101"/>
                    <a:pt x="540" y="101"/>
                  </a:cubicBezTo>
                  <a:cubicBezTo>
                    <a:pt x="540" y="101"/>
                    <a:pt x="539" y="101"/>
                    <a:pt x="539" y="100"/>
                  </a:cubicBezTo>
                  <a:cubicBezTo>
                    <a:pt x="533" y="97"/>
                    <a:pt x="533" y="97"/>
                    <a:pt x="533" y="97"/>
                  </a:cubicBezTo>
                  <a:cubicBezTo>
                    <a:pt x="528" y="93"/>
                    <a:pt x="528" y="93"/>
                    <a:pt x="528" y="93"/>
                  </a:cubicBezTo>
                  <a:cubicBezTo>
                    <a:pt x="528" y="56"/>
                    <a:pt x="528" y="56"/>
                    <a:pt x="528" y="56"/>
                  </a:cubicBezTo>
                  <a:cubicBezTo>
                    <a:pt x="528" y="50"/>
                    <a:pt x="525" y="44"/>
                    <a:pt x="519" y="42"/>
                  </a:cubicBezTo>
                  <a:cubicBezTo>
                    <a:pt x="509" y="37"/>
                    <a:pt x="509" y="37"/>
                    <a:pt x="509" y="37"/>
                  </a:cubicBezTo>
                  <a:cubicBezTo>
                    <a:pt x="509" y="36"/>
                    <a:pt x="509" y="36"/>
                    <a:pt x="508" y="36"/>
                  </a:cubicBezTo>
                  <a:cubicBezTo>
                    <a:pt x="499" y="32"/>
                    <a:pt x="499" y="32"/>
                    <a:pt x="499" y="32"/>
                  </a:cubicBezTo>
                  <a:cubicBezTo>
                    <a:pt x="494" y="30"/>
                    <a:pt x="488" y="31"/>
                    <a:pt x="484" y="34"/>
                  </a:cubicBezTo>
                  <a:cubicBezTo>
                    <a:pt x="454" y="55"/>
                    <a:pt x="454" y="55"/>
                    <a:pt x="454" y="55"/>
                  </a:cubicBezTo>
                  <a:cubicBezTo>
                    <a:pt x="449" y="53"/>
                    <a:pt x="449" y="53"/>
                    <a:pt x="449" y="53"/>
                  </a:cubicBezTo>
                  <a:cubicBezTo>
                    <a:pt x="448" y="52"/>
                    <a:pt x="447" y="52"/>
                    <a:pt x="447" y="52"/>
                  </a:cubicBezTo>
                  <a:cubicBezTo>
                    <a:pt x="440" y="50"/>
                    <a:pt x="440" y="50"/>
                    <a:pt x="440" y="50"/>
                  </a:cubicBezTo>
                  <a:cubicBezTo>
                    <a:pt x="428" y="16"/>
                    <a:pt x="428" y="16"/>
                    <a:pt x="428" y="16"/>
                  </a:cubicBezTo>
                  <a:cubicBezTo>
                    <a:pt x="427" y="11"/>
                    <a:pt x="422" y="7"/>
                    <a:pt x="417" y="6"/>
                  </a:cubicBezTo>
                  <a:cubicBezTo>
                    <a:pt x="407" y="3"/>
                    <a:pt x="407" y="3"/>
                    <a:pt x="407" y="3"/>
                  </a:cubicBezTo>
                  <a:cubicBezTo>
                    <a:pt x="406" y="3"/>
                    <a:pt x="405" y="3"/>
                    <a:pt x="405" y="3"/>
                  </a:cubicBezTo>
                  <a:cubicBezTo>
                    <a:pt x="394" y="1"/>
                    <a:pt x="394" y="1"/>
                    <a:pt x="394" y="1"/>
                  </a:cubicBezTo>
                  <a:cubicBezTo>
                    <a:pt x="388" y="1"/>
                    <a:pt x="383" y="3"/>
                    <a:pt x="379" y="8"/>
                  </a:cubicBezTo>
                  <a:cubicBezTo>
                    <a:pt x="359" y="38"/>
                    <a:pt x="359" y="38"/>
                    <a:pt x="359" y="38"/>
                  </a:cubicBezTo>
                  <a:cubicBezTo>
                    <a:pt x="352" y="37"/>
                    <a:pt x="352" y="37"/>
                    <a:pt x="352" y="37"/>
                  </a:cubicBezTo>
                  <a:cubicBezTo>
                    <a:pt x="352" y="37"/>
                    <a:pt x="351" y="37"/>
                    <a:pt x="350" y="37"/>
                  </a:cubicBezTo>
                  <a:cubicBezTo>
                    <a:pt x="342" y="38"/>
                    <a:pt x="342" y="38"/>
                    <a:pt x="342" y="38"/>
                  </a:cubicBezTo>
                  <a:cubicBezTo>
                    <a:pt x="322" y="8"/>
                    <a:pt x="322" y="8"/>
                    <a:pt x="322" y="8"/>
                  </a:cubicBezTo>
                  <a:cubicBezTo>
                    <a:pt x="318" y="3"/>
                    <a:pt x="312" y="0"/>
                    <a:pt x="306" y="2"/>
                  </a:cubicBezTo>
                  <a:cubicBezTo>
                    <a:pt x="285" y="5"/>
                    <a:pt x="285" y="5"/>
                    <a:pt x="285" y="5"/>
                  </a:cubicBezTo>
                  <a:cubicBezTo>
                    <a:pt x="279" y="7"/>
                    <a:pt x="275" y="11"/>
                    <a:pt x="273" y="16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1" y="50"/>
                    <a:pt x="261" y="50"/>
                    <a:pt x="261" y="50"/>
                  </a:cubicBezTo>
                  <a:cubicBezTo>
                    <a:pt x="253" y="52"/>
                    <a:pt x="253" y="52"/>
                    <a:pt x="253" y="52"/>
                  </a:cubicBezTo>
                  <a:cubicBezTo>
                    <a:pt x="253" y="52"/>
                    <a:pt x="253" y="53"/>
                    <a:pt x="253" y="53"/>
                  </a:cubicBezTo>
                  <a:cubicBezTo>
                    <a:pt x="247" y="55"/>
                    <a:pt x="247" y="55"/>
                    <a:pt x="247" y="55"/>
                  </a:cubicBezTo>
                  <a:cubicBezTo>
                    <a:pt x="217" y="34"/>
                    <a:pt x="217" y="34"/>
                    <a:pt x="217" y="34"/>
                  </a:cubicBezTo>
                  <a:cubicBezTo>
                    <a:pt x="213" y="31"/>
                    <a:pt x="207" y="30"/>
                    <a:pt x="202" y="32"/>
                  </a:cubicBezTo>
                  <a:cubicBezTo>
                    <a:pt x="193" y="36"/>
                    <a:pt x="193" y="36"/>
                    <a:pt x="193" y="36"/>
                  </a:cubicBezTo>
                  <a:cubicBezTo>
                    <a:pt x="192" y="36"/>
                    <a:pt x="192" y="36"/>
                    <a:pt x="192" y="37"/>
                  </a:cubicBezTo>
                  <a:cubicBezTo>
                    <a:pt x="181" y="42"/>
                    <a:pt x="181" y="42"/>
                    <a:pt x="181" y="42"/>
                  </a:cubicBezTo>
                  <a:cubicBezTo>
                    <a:pt x="176" y="45"/>
                    <a:pt x="172" y="50"/>
                    <a:pt x="173" y="57"/>
                  </a:cubicBezTo>
                  <a:cubicBezTo>
                    <a:pt x="174" y="93"/>
                    <a:pt x="174" y="93"/>
                    <a:pt x="174" y="93"/>
                  </a:cubicBezTo>
                  <a:cubicBezTo>
                    <a:pt x="162" y="101"/>
                    <a:pt x="162" y="101"/>
                    <a:pt x="162" y="101"/>
                  </a:cubicBezTo>
                  <a:cubicBezTo>
                    <a:pt x="127" y="90"/>
                    <a:pt x="127" y="90"/>
                    <a:pt x="127" y="90"/>
                  </a:cubicBezTo>
                  <a:cubicBezTo>
                    <a:pt x="121" y="88"/>
                    <a:pt x="115" y="89"/>
                    <a:pt x="110" y="94"/>
                  </a:cubicBezTo>
                  <a:cubicBezTo>
                    <a:pt x="95" y="109"/>
                    <a:pt x="95" y="109"/>
                    <a:pt x="95" y="109"/>
                  </a:cubicBezTo>
                  <a:cubicBezTo>
                    <a:pt x="90" y="113"/>
                    <a:pt x="89" y="120"/>
                    <a:pt x="91" y="126"/>
                  </a:cubicBezTo>
                  <a:cubicBezTo>
                    <a:pt x="102" y="159"/>
                    <a:pt x="102" y="159"/>
                    <a:pt x="102" y="159"/>
                  </a:cubicBezTo>
                  <a:cubicBezTo>
                    <a:pt x="102" y="159"/>
                    <a:pt x="102" y="160"/>
                    <a:pt x="101" y="160"/>
                  </a:cubicBezTo>
                  <a:cubicBezTo>
                    <a:pt x="98" y="166"/>
                    <a:pt x="98" y="166"/>
                    <a:pt x="98" y="166"/>
                  </a:cubicBezTo>
                  <a:cubicBezTo>
                    <a:pt x="94" y="171"/>
                    <a:pt x="94" y="171"/>
                    <a:pt x="94" y="171"/>
                  </a:cubicBezTo>
                  <a:cubicBezTo>
                    <a:pt x="57" y="171"/>
                    <a:pt x="57" y="171"/>
                    <a:pt x="57" y="171"/>
                  </a:cubicBezTo>
                  <a:cubicBezTo>
                    <a:pt x="52" y="171"/>
                    <a:pt x="47" y="174"/>
                    <a:pt x="44" y="179"/>
                  </a:cubicBezTo>
                  <a:cubicBezTo>
                    <a:pt x="39" y="186"/>
                    <a:pt x="39" y="186"/>
                    <a:pt x="39" y="186"/>
                  </a:cubicBezTo>
                  <a:cubicBezTo>
                    <a:pt x="38" y="187"/>
                    <a:pt x="38" y="187"/>
                    <a:pt x="38" y="188"/>
                  </a:cubicBezTo>
                  <a:cubicBezTo>
                    <a:pt x="32" y="198"/>
                    <a:pt x="32" y="198"/>
                    <a:pt x="32" y="198"/>
                  </a:cubicBezTo>
                  <a:cubicBezTo>
                    <a:pt x="30" y="204"/>
                    <a:pt x="30" y="211"/>
                    <a:pt x="34" y="215"/>
                  </a:cubicBezTo>
                  <a:cubicBezTo>
                    <a:pt x="56" y="243"/>
                    <a:pt x="56" y="243"/>
                    <a:pt x="56" y="243"/>
                  </a:cubicBezTo>
                  <a:cubicBezTo>
                    <a:pt x="53" y="251"/>
                    <a:pt x="53" y="251"/>
                    <a:pt x="53" y="251"/>
                  </a:cubicBezTo>
                  <a:cubicBezTo>
                    <a:pt x="53" y="251"/>
                    <a:pt x="53" y="252"/>
                    <a:pt x="53" y="252"/>
                  </a:cubicBezTo>
                  <a:cubicBezTo>
                    <a:pt x="52" y="258"/>
                    <a:pt x="52" y="258"/>
                    <a:pt x="52" y="258"/>
                  </a:cubicBezTo>
                  <a:cubicBezTo>
                    <a:pt x="17" y="269"/>
                    <a:pt x="17" y="269"/>
                    <a:pt x="17" y="269"/>
                  </a:cubicBezTo>
                  <a:cubicBezTo>
                    <a:pt x="11" y="270"/>
                    <a:pt x="7" y="275"/>
                    <a:pt x="5" y="280"/>
                  </a:cubicBezTo>
                  <a:cubicBezTo>
                    <a:pt x="3" y="291"/>
                    <a:pt x="3" y="291"/>
                    <a:pt x="3" y="291"/>
                  </a:cubicBezTo>
                  <a:cubicBezTo>
                    <a:pt x="3" y="291"/>
                    <a:pt x="3" y="292"/>
                    <a:pt x="2" y="293"/>
                  </a:cubicBezTo>
                  <a:cubicBezTo>
                    <a:pt x="1" y="304"/>
                    <a:pt x="1" y="304"/>
                    <a:pt x="1" y="304"/>
                  </a:cubicBezTo>
                  <a:cubicBezTo>
                    <a:pt x="1" y="310"/>
                    <a:pt x="3" y="316"/>
                    <a:pt x="9" y="320"/>
                  </a:cubicBezTo>
                  <a:cubicBezTo>
                    <a:pt x="39" y="339"/>
                    <a:pt x="39" y="339"/>
                    <a:pt x="39" y="339"/>
                  </a:cubicBezTo>
                  <a:cubicBezTo>
                    <a:pt x="39" y="345"/>
                    <a:pt x="39" y="345"/>
                    <a:pt x="39" y="345"/>
                  </a:cubicBezTo>
                  <a:cubicBezTo>
                    <a:pt x="38" y="346"/>
                    <a:pt x="38" y="346"/>
                    <a:pt x="39" y="347"/>
                  </a:cubicBezTo>
                  <a:cubicBezTo>
                    <a:pt x="39" y="353"/>
                    <a:pt x="39" y="353"/>
                    <a:pt x="39" y="353"/>
                  </a:cubicBezTo>
                  <a:cubicBezTo>
                    <a:pt x="8" y="374"/>
                    <a:pt x="8" y="374"/>
                    <a:pt x="8" y="374"/>
                  </a:cubicBezTo>
                  <a:cubicBezTo>
                    <a:pt x="3" y="377"/>
                    <a:pt x="0" y="384"/>
                    <a:pt x="1" y="390"/>
                  </a:cubicBezTo>
                  <a:cubicBezTo>
                    <a:pt x="5" y="411"/>
                    <a:pt x="5" y="411"/>
                    <a:pt x="5" y="411"/>
                  </a:cubicBezTo>
                  <a:cubicBezTo>
                    <a:pt x="6" y="417"/>
                    <a:pt x="10" y="421"/>
                    <a:pt x="16" y="423"/>
                  </a:cubicBezTo>
                  <a:cubicBezTo>
                    <a:pt x="52" y="435"/>
                    <a:pt x="52" y="435"/>
                    <a:pt x="52" y="435"/>
                  </a:cubicBezTo>
                  <a:cubicBezTo>
                    <a:pt x="53" y="440"/>
                    <a:pt x="53" y="440"/>
                    <a:pt x="53" y="440"/>
                  </a:cubicBezTo>
                  <a:cubicBezTo>
                    <a:pt x="53" y="441"/>
                    <a:pt x="53" y="442"/>
                    <a:pt x="54" y="443"/>
                  </a:cubicBezTo>
                  <a:cubicBezTo>
                    <a:pt x="56" y="449"/>
                    <a:pt x="56" y="449"/>
                    <a:pt x="56" y="449"/>
                  </a:cubicBezTo>
                  <a:cubicBezTo>
                    <a:pt x="34" y="478"/>
                    <a:pt x="34" y="478"/>
                    <a:pt x="34" y="478"/>
                  </a:cubicBezTo>
                  <a:cubicBezTo>
                    <a:pt x="30" y="483"/>
                    <a:pt x="30" y="490"/>
                    <a:pt x="33" y="496"/>
                  </a:cubicBezTo>
                  <a:cubicBezTo>
                    <a:pt x="43" y="514"/>
                    <a:pt x="43" y="514"/>
                    <a:pt x="43" y="514"/>
                  </a:cubicBezTo>
                  <a:cubicBezTo>
                    <a:pt x="46" y="519"/>
                    <a:pt x="52" y="522"/>
                    <a:pt x="58" y="522"/>
                  </a:cubicBezTo>
                  <a:cubicBezTo>
                    <a:pt x="94" y="521"/>
                    <a:pt x="94" y="521"/>
                    <a:pt x="94" y="521"/>
                  </a:cubicBezTo>
                  <a:cubicBezTo>
                    <a:pt x="98" y="527"/>
                    <a:pt x="98" y="527"/>
                    <a:pt x="98" y="527"/>
                  </a:cubicBezTo>
                  <a:cubicBezTo>
                    <a:pt x="98" y="528"/>
                    <a:pt x="98" y="528"/>
                    <a:pt x="99" y="529"/>
                  </a:cubicBezTo>
                  <a:cubicBezTo>
                    <a:pt x="102" y="533"/>
                    <a:pt x="102" y="533"/>
                    <a:pt x="102" y="533"/>
                  </a:cubicBezTo>
                  <a:cubicBezTo>
                    <a:pt x="91" y="568"/>
                    <a:pt x="91" y="568"/>
                    <a:pt x="91" y="568"/>
                  </a:cubicBezTo>
                  <a:cubicBezTo>
                    <a:pt x="89" y="573"/>
                    <a:pt x="90" y="580"/>
                    <a:pt x="95" y="584"/>
                  </a:cubicBezTo>
                  <a:cubicBezTo>
                    <a:pt x="110" y="600"/>
                    <a:pt x="110" y="600"/>
                    <a:pt x="110" y="600"/>
                  </a:cubicBezTo>
                  <a:cubicBezTo>
                    <a:pt x="115" y="604"/>
                    <a:pt x="121" y="605"/>
                    <a:pt x="127" y="603"/>
                  </a:cubicBezTo>
                  <a:cubicBezTo>
                    <a:pt x="162" y="592"/>
                    <a:pt x="162" y="592"/>
                    <a:pt x="162" y="592"/>
                  </a:cubicBezTo>
                  <a:cubicBezTo>
                    <a:pt x="167" y="596"/>
                    <a:pt x="167" y="596"/>
                    <a:pt x="167" y="596"/>
                  </a:cubicBezTo>
                  <a:cubicBezTo>
                    <a:pt x="167" y="596"/>
                    <a:pt x="168" y="596"/>
                    <a:pt x="168" y="596"/>
                  </a:cubicBezTo>
                  <a:cubicBezTo>
                    <a:pt x="174" y="600"/>
                    <a:pt x="174" y="600"/>
                    <a:pt x="174" y="600"/>
                  </a:cubicBezTo>
                  <a:cubicBezTo>
                    <a:pt x="173" y="635"/>
                    <a:pt x="173" y="635"/>
                    <a:pt x="173" y="635"/>
                  </a:cubicBezTo>
                  <a:cubicBezTo>
                    <a:pt x="172" y="641"/>
                    <a:pt x="175" y="647"/>
                    <a:pt x="180" y="650"/>
                  </a:cubicBezTo>
                  <a:cubicBezTo>
                    <a:pt x="190" y="656"/>
                    <a:pt x="190" y="656"/>
                    <a:pt x="190" y="656"/>
                  </a:cubicBezTo>
                  <a:cubicBezTo>
                    <a:pt x="191" y="656"/>
                    <a:pt x="192" y="657"/>
                    <a:pt x="193" y="657"/>
                  </a:cubicBezTo>
                  <a:cubicBezTo>
                    <a:pt x="202" y="661"/>
                    <a:pt x="202" y="661"/>
                    <a:pt x="202" y="661"/>
                  </a:cubicBezTo>
                  <a:cubicBezTo>
                    <a:pt x="207" y="663"/>
                    <a:pt x="213" y="663"/>
                    <a:pt x="218" y="659"/>
                  </a:cubicBezTo>
                  <a:cubicBezTo>
                    <a:pt x="245" y="638"/>
                    <a:pt x="245" y="638"/>
                    <a:pt x="245" y="638"/>
                  </a:cubicBezTo>
                  <a:cubicBezTo>
                    <a:pt x="246" y="639"/>
                    <a:pt x="247" y="639"/>
                    <a:pt x="248" y="639"/>
                  </a:cubicBezTo>
                  <a:cubicBezTo>
                    <a:pt x="254" y="640"/>
                    <a:pt x="254" y="640"/>
                    <a:pt x="254" y="640"/>
                  </a:cubicBezTo>
                  <a:cubicBezTo>
                    <a:pt x="261" y="642"/>
                    <a:pt x="261" y="642"/>
                    <a:pt x="261" y="642"/>
                  </a:cubicBezTo>
                  <a:cubicBezTo>
                    <a:pt x="273" y="677"/>
                    <a:pt x="273" y="677"/>
                    <a:pt x="273" y="677"/>
                  </a:cubicBezTo>
                  <a:cubicBezTo>
                    <a:pt x="275" y="683"/>
                    <a:pt x="280" y="687"/>
                    <a:pt x="286" y="688"/>
                  </a:cubicBezTo>
                  <a:cubicBezTo>
                    <a:pt x="307" y="691"/>
                    <a:pt x="307" y="691"/>
                    <a:pt x="307" y="691"/>
                  </a:cubicBezTo>
                  <a:cubicBezTo>
                    <a:pt x="312" y="691"/>
                    <a:pt x="318" y="689"/>
                    <a:pt x="322" y="684"/>
                  </a:cubicBezTo>
                  <a:cubicBezTo>
                    <a:pt x="343" y="655"/>
                    <a:pt x="343" y="655"/>
                    <a:pt x="343" y="655"/>
                  </a:cubicBezTo>
                  <a:cubicBezTo>
                    <a:pt x="358" y="655"/>
                    <a:pt x="358" y="655"/>
                    <a:pt x="358" y="655"/>
                  </a:cubicBezTo>
                  <a:cubicBezTo>
                    <a:pt x="379" y="684"/>
                    <a:pt x="379" y="684"/>
                    <a:pt x="379" y="684"/>
                  </a:cubicBezTo>
                  <a:cubicBezTo>
                    <a:pt x="382" y="688"/>
                    <a:pt x="387" y="691"/>
                    <a:pt x="392" y="691"/>
                  </a:cubicBezTo>
                  <a:cubicBezTo>
                    <a:pt x="393" y="691"/>
                    <a:pt x="394" y="691"/>
                    <a:pt x="394" y="691"/>
                  </a:cubicBezTo>
                  <a:cubicBezTo>
                    <a:pt x="415" y="688"/>
                    <a:pt x="415" y="688"/>
                    <a:pt x="415" y="688"/>
                  </a:cubicBezTo>
                  <a:cubicBezTo>
                    <a:pt x="421" y="687"/>
                    <a:pt x="426" y="683"/>
                    <a:pt x="428" y="677"/>
                  </a:cubicBezTo>
                  <a:cubicBezTo>
                    <a:pt x="440" y="642"/>
                    <a:pt x="440" y="642"/>
                    <a:pt x="440" y="642"/>
                  </a:cubicBezTo>
                  <a:cubicBezTo>
                    <a:pt x="448" y="640"/>
                    <a:pt x="448" y="640"/>
                    <a:pt x="448" y="640"/>
                  </a:cubicBezTo>
                  <a:cubicBezTo>
                    <a:pt x="448" y="640"/>
                    <a:pt x="448" y="639"/>
                    <a:pt x="448" y="639"/>
                  </a:cubicBezTo>
                  <a:cubicBezTo>
                    <a:pt x="454" y="637"/>
                    <a:pt x="454" y="637"/>
                    <a:pt x="454" y="637"/>
                  </a:cubicBezTo>
                  <a:cubicBezTo>
                    <a:pt x="483" y="659"/>
                    <a:pt x="483" y="659"/>
                    <a:pt x="483" y="659"/>
                  </a:cubicBezTo>
                  <a:cubicBezTo>
                    <a:pt x="488" y="663"/>
                    <a:pt x="494" y="663"/>
                    <a:pt x="499" y="661"/>
                  </a:cubicBezTo>
                  <a:cubicBezTo>
                    <a:pt x="508" y="657"/>
                    <a:pt x="508" y="657"/>
                    <a:pt x="508" y="657"/>
                  </a:cubicBezTo>
                  <a:cubicBezTo>
                    <a:pt x="509" y="657"/>
                    <a:pt x="510" y="656"/>
                    <a:pt x="510" y="656"/>
                  </a:cubicBezTo>
                  <a:cubicBezTo>
                    <a:pt x="521" y="650"/>
                    <a:pt x="521" y="650"/>
                    <a:pt x="521" y="650"/>
                  </a:cubicBezTo>
                  <a:cubicBezTo>
                    <a:pt x="525" y="647"/>
                    <a:pt x="528" y="641"/>
                    <a:pt x="528" y="636"/>
                  </a:cubicBezTo>
                  <a:cubicBezTo>
                    <a:pt x="528" y="600"/>
                    <a:pt x="528" y="600"/>
                    <a:pt x="528" y="600"/>
                  </a:cubicBezTo>
                  <a:cubicBezTo>
                    <a:pt x="533" y="596"/>
                    <a:pt x="533" y="596"/>
                    <a:pt x="533" y="596"/>
                  </a:cubicBezTo>
                  <a:cubicBezTo>
                    <a:pt x="539" y="592"/>
                    <a:pt x="539" y="592"/>
                    <a:pt x="539" y="592"/>
                  </a:cubicBezTo>
                  <a:cubicBezTo>
                    <a:pt x="574" y="603"/>
                    <a:pt x="574" y="603"/>
                    <a:pt x="574" y="603"/>
                  </a:cubicBezTo>
                  <a:cubicBezTo>
                    <a:pt x="580" y="605"/>
                    <a:pt x="586" y="604"/>
                    <a:pt x="591" y="600"/>
                  </a:cubicBezTo>
                  <a:cubicBezTo>
                    <a:pt x="606" y="584"/>
                    <a:pt x="606" y="584"/>
                    <a:pt x="606" y="584"/>
                  </a:cubicBezTo>
                  <a:cubicBezTo>
                    <a:pt x="610" y="580"/>
                    <a:pt x="612" y="573"/>
                    <a:pt x="610" y="568"/>
                  </a:cubicBezTo>
                  <a:cubicBezTo>
                    <a:pt x="599" y="533"/>
                    <a:pt x="599" y="533"/>
                    <a:pt x="599" y="533"/>
                  </a:cubicBezTo>
                  <a:cubicBezTo>
                    <a:pt x="602" y="528"/>
                    <a:pt x="602" y="528"/>
                    <a:pt x="602" y="528"/>
                  </a:cubicBezTo>
                  <a:cubicBezTo>
                    <a:pt x="603" y="528"/>
                    <a:pt x="603" y="528"/>
                    <a:pt x="603" y="527"/>
                  </a:cubicBezTo>
                  <a:cubicBezTo>
                    <a:pt x="607" y="521"/>
                    <a:pt x="607" y="521"/>
                    <a:pt x="607" y="521"/>
                  </a:cubicBezTo>
                  <a:cubicBezTo>
                    <a:pt x="643" y="522"/>
                    <a:pt x="643" y="522"/>
                    <a:pt x="643" y="522"/>
                  </a:cubicBezTo>
                  <a:cubicBezTo>
                    <a:pt x="649" y="522"/>
                    <a:pt x="655" y="519"/>
                    <a:pt x="658" y="514"/>
                  </a:cubicBezTo>
                  <a:cubicBezTo>
                    <a:pt x="668" y="496"/>
                    <a:pt x="668" y="496"/>
                    <a:pt x="668" y="496"/>
                  </a:cubicBezTo>
                  <a:cubicBezTo>
                    <a:pt x="671" y="490"/>
                    <a:pt x="671" y="483"/>
                    <a:pt x="667" y="478"/>
                  </a:cubicBezTo>
                  <a:cubicBezTo>
                    <a:pt x="645" y="449"/>
                    <a:pt x="645" y="449"/>
                    <a:pt x="645" y="449"/>
                  </a:cubicBezTo>
                  <a:cubicBezTo>
                    <a:pt x="647" y="443"/>
                    <a:pt x="647" y="443"/>
                    <a:pt x="647" y="443"/>
                  </a:cubicBezTo>
                  <a:cubicBezTo>
                    <a:pt x="647" y="443"/>
                    <a:pt x="648" y="442"/>
                    <a:pt x="648" y="441"/>
                  </a:cubicBezTo>
                  <a:cubicBezTo>
                    <a:pt x="649" y="435"/>
                    <a:pt x="649" y="435"/>
                    <a:pt x="649" y="435"/>
                  </a:cubicBezTo>
                  <a:cubicBezTo>
                    <a:pt x="685" y="423"/>
                    <a:pt x="685" y="423"/>
                    <a:pt x="685" y="423"/>
                  </a:cubicBezTo>
                  <a:cubicBezTo>
                    <a:pt x="691" y="421"/>
                    <a:pt x="695" y="416"/>
                    <a:pt x="696" y="410"/>
                  </a:cubicBezTo>
                  <a:cubicBezTo>
                    <a:pt x="698" y="389"/>
                    <a:pt x="698" y="389"/>
                    <a:pt x="698" y="389"/>
                  </a:cubicBezTo>
                  <a:cubicBezTo>
                    <a:pt x="699" y="383"/>
                    <a:pt x="697" y="377"/>
                    <a:pt x="692" y="37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CH" sz="1600" dirty="0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E06C7CD2-A722-4D10-810B-DA0456500692}"/>
                </a:ext>
              </a:extLst>
            </p:cNvPr>
            <p:cNvSpPr/>
            <p:nvPr/>
          </p:nvSpPr>
          <p:spPr>
            <a:xfrm>
              <a:off x="11696315" y="6362315"/>
              <a:ext cx="359032" cy="35903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</p:grpSp>
    </p:spTree>
    <p:extLst>
      <p:ext uri="{BB962C8B-B14F-4D97-AF65-F5344CB8AC3E}">
        <p14:creationId xmlns:p14="http://schemas.microsoft.com/office/powerpoint/2010/main" val="20000132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5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CH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A13FF3-A3B4-402D-91B1-C176C247EB92}" type="datetimeFigureOut">
              <a:rPr lang="fr-CH" smtClean="0"/>
              <a:t>05.04.2019</a:t>
            </a:fld>
            <a:endParaRPr lang="fr-CH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H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107053-0274-46BF-A48C-B751F6C03B80}" type="slidenum">
              <a:rPr lang="fr-CH" smtClean="0"/>
              <a:t>‹N°›</a:t>
            </a:fld>
            <a:endParaRPr lang="fr-CH"/>
          </a:p>
        </p:txBody>
      </p:sp>
      <p:sp>
        <p:nvSpPr>
          <p:cNvPr id="6" name="Freeform 5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" name="Freeform 6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8" name="Group 12">
            <a:extLst>
              <a:ext uri="{FF2B5EF4-FFF2-40B4-BE49-F238E27FC236}">
                <a16:creationId xmlns:a16="http://schemas.microsoft.com/office/drawing/2014/main" id="{67051C4B-9C0E-49C0-A9C6-F21FEFBA86BD}"/>
              </a:ext>
            </a:extLst>
          </p:cNvPr>
          <p:cNvGrpSpPr/>
          <p:nvPr userDrawn="1"/>
        </p:nvGrpSpPr>
        <p:grpSpPr>
          <a:xfrm>
            <a:off x="11588238" y="6254238"/>
            <a:ext cx="575187" cy="575187"/>
            <a:chOff x="11588238" y="6254238"/>
            <a:chExt cx="575187" cy="575187"/>
          </a:xfrm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B8AA1585-231A-4930-96C5-63738211D440}"/>
                </a:ext>
              </a:extLst>
            </p:cNvPr>
            <p:cNvSpPr>
              <a:spLocks/>
            </p:cNvSpPr>
            <p:nvPr>
              <p:custDataLst>
                <p:tags r:id="rId1"/>
              </p:custDataLst>
            </p:nvPr>
          </p:nvSpPr>
          <p:spPr bwMode="gray">
            <a:xfrm>
              <a:off x="11588238" y="6254238"/>
              <a:ext cx="575187" cy="575187"/>
            </a:xfrm>
            <a:custGeom>
              <a:avLst/>
              <a:gdLst>
                <a:gd name="T0" fmla="*/ 662 w 699"/>
                <a:gd name="T1" fmla="*/ 347 h 691"/>
                <a:gd name="T2" fmla="*/ 691 w 699"/>
                <a:gd name="T3" fmla="*/ 320 h 691"/>
                <a:gd name="T4" fmla="*/ 684 w 699"/>
                <a:gd name="T5" fmla="*/ 269 h 691"/>
                <a:gd name="T6" fmla="*/ 645 w 699"/>
                <a:gd name="T7" fmla="*/ 243 h 691"/>
                <a:gd name="T8" fmla="*/ 663 w 699"/>
                <a:gd name="T9" fmla="*/ 188 h 691"/>
                <a:gd name="T10" fmla="*/ 644 w 699"/>
                <a:gd name="T11" fmla="*/ 171 h 691"/>
                <a:gd name="T12" fmla="*/ 602 w 699"/>
                <a:gd name="T13" fmla="*/ 165 h 691"/>
                <a:gd name="T14" fmla="*/ 606 w 699"/>
                <a:gd name="T15" fmla="*/ 109 h 691"/>
                <a:gd name="T16" fmla="*/ 540 w 699"/>
                <a:gd name="T17" fmla="*/ 101 h 691"/>
                <a:gd name="T18" fmla="*/ 528 w 699"/>
                <a:gd name="T19" fmla="*/ 93 h 691"/>
                <a:gd name="T20" fmla="*/ 509 w 699"/>
                <a:gd name="T21" fmla="*/ 37 h 691"/>
                <a:gd name="T22" fmla="*/ 484 w 699"/>
                <a:gd name="T23" fmla="*/ 34 h 691"/>
                <a:gd name="T24" fmla="*/ 447 w 699"/>
                <a:gd name="T25" fmla="*/ 52 h 691"/>
                <a:gd name="T26" fmla="*/ 417 w 699"/>
                <a:gd name="T27" fmla="*/ 6 h 691"/>
                <a:gd name="T28" fmla="*/ 394 w 699"/>
                <a:gd name="T29" fmla="*/ 1 h 691"/>
                <a:gd name="T30" fmla="*/ 352 w 699"/>
                <a:gd name="T31" fmla="*/ 37 h 691"/>
                <a:gd name="T32" fmla="*/ 322 w 699"/>
                <a:gd name="T33" fmla="*/ 8 h 691"/>
                <a:gd name="T34" fmla="*/ 273 w 699"/>
                <a:gd name="T35" fmla="*/ 16 h 691"/>
                <a:gd name="T36" fmla="*/ 253 w 699"/>
                <a:gd name="T37" fmla="*/ 52 h 691"/>
                <a:gd name="T38" fmla="*/ 217 w 699"/>
                <a:gd name="T39" fmla="*/ 34 h 691"/>
                <a:gd name="T40" fmla="*/ 192 w 699"/>
                <a:gd name="T41" fmla="*/ 37 h 691"/>
                <a:gd name="T42" fmla="*/ 174 w 699"/>
                <a:gd name="T43" fmla="*/ 93 h 691"/>
                <a:gd name="T44" fmla="*/ 110 w 699"/>
                <a:gd name="T45" fmla="*/ 94 h 691"/>
                <a:gd name="T46" fmla="*/ 102 w 699"/>
                <a:gd name="T47" fmla="*/ 159 h 691"/>
                <a:gd name="T48" fmla="*/ 94 w 699"/>
                <a:gd name="T49" fmla="*/ 171 h 691"/>
                <a:gd name="T50" fmla="*/ 39 w 699"/>
                <a:gd name="T51" fmla="*/ 186 h 691"/>
                <a:gd name="T52" fmla="*/ 34 w 699"/>
                <a:gd name="T53" fmla="*/ 215 h 691"/>
                <a:gd name="T54" fmla="*/ 53 w 699"/>
                <a:gd name="T55" fmla="*/ 252 h 691"/>
                <a:gd name="T56" fmla="*/ 5 w 699"/>
                <a:gd name="T57" fmla="*/ 280 h 691"/>
                <a:gd name="T58" fmla="*/ 1 w 699"/>
                <a:gd name="T59" fmla="*/ 304 h 691"/>
                <a:gd name="T60" fmla="*/ 39 w 699"/>
                <a:gd name="T61" fmla="*/ 345 h 691"/>
                <a:gd name="T62" fmla="*/ 8 w 699"/>
                <a:gd name="T63" fmla="*/ 374 h 691"/>
                <a:gd name="T64" fmla="*/ 16 w 699"/>
                <a:gd name="T65" fmla="*/ 423 h 691"/>
                <a:gd name="T66" fmla="*/ 54 w 699"/>
                <a:gd name="T67" fmla="*/ 443 h 691"/>
                <a:gd name="T68" fmla="*/ 33 w 699"/>
                <a:gd name="T69" fmla="*/ 496 h 691"/>
                <a:gd name="T70" fmla="*/ 94 w 699"/>
                <a:gd name="T71" fmla="*/ 521 h 691"/>
                <a:gd name="T72" fmla="*/ 102 w 699"/>
                <a:gd name="T73" fmla="*/ 533 h 691"/>
                <a:gd name="T74" fmla="*/ 110 w 699"/>
                <a:gd name="T75" fmla="*/ 600 h 691"/>
                <a:gd name="T76" fmla="*/ 167 w 699"/>
                <a:gd name="T77" fmla="*/ 596 h 691"/>
                <a:gd name="T78" fmla="*/ 173 w 699"/>
                <a:gd name="T79" fmla="*/ 635 h 691"/>
                <a:gd name="T80" fmla="*/ 193 w 699"/>
                <a:gd name="T81" fmla="*/ 657 h 691"/>
                <a:gd name="T82" fmla="*/ 245 w 699"/>
                <a:gd name="T83" fmla="*/ 638 h 691"/>
                <a:gd name="T84" fmla="*/ 261 w 699"/>
                <a:gd name="T85" fmla="*/ 642 h 691"/>
                <a:gd name="T86" fmla="*/ 307 w 699"/>
                <a:gd name="T87" fmla="*/ 691 h 691"/>
                <a:gd name="T88" fmla="*/ 358 w 699"/>
                <a:gd name="T89" fmla="*/ 655 h 691"/>
                <a:gd name="T90" fmla="*/ 394 w 699"/>
                <a:gd name="T91" fmla="*/ 691 h 691"/>
                <a:gd name="T92" fmla="*/ 440 w 699"/>
                <a:gd name="T93" fmla="*/ 642 h 691"/>
                <a:gd name="T94" fmla="*/ 454 w 699"/>
                <a:gd name="T95" fmla="*/ 637 h 691"/>
                <a:gd name="T96" fmla="*/ 508 w 699"/>
                <a:gd name="T97" fmla="*/ 657 h 691"/>
                <a:gd name="T98" fmla="*/ 528 w 699"/>
                <a:gd name="T99" fmla="*/ 636 h 691"/>
                <a:gd name="T100" fmla="*/ 539 w 699"/>
                <a:gd name="T101" fmla="*/ 592 h 691"/>
                <a:gd name="T102" fmla="*/ 606 w 699"/>
                <a:gd name="T103" fmla="*/ 584 h 691"/>
                <a:gd name="T104" fmla="*/ 602 w 699"/>
                <a:gd name="T105" fmla="*/ 528 h 691"/>
                <a:gd name="T106" fmla="*/ 643 w 699"/>
                <a:gd name="T107" fmla="*/ 522 h 691"/>
                <a:gd name="T108" fmla="*/ 667 w 699"/>
                <a:gd name="T109" fmla="*/ 478 h 691"/>
                <a:gd name="T110" fmla="*/ 648 w 699"/>
                <a:gd name="T111" fmla="*/ 441 h 691"/>
                <a:gd name="T112" fmla="*/ 696 w 699"/>
                <a:gd name="T113" fmla="*/ 410 h 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99" h="691">
                  <a:moveTo>
                    <a:pt x="692" y="374"/>
                  </a:moveTo>
                  <a:cubicBezTo>
                    <a:pt x="662" y="354"/>
                    <a:pt x="662" y="354"/>
                    <a:pt x="662" y="354"/>
                  </a:cubicBezTo>
                  <a:cubicBezTo>
                    <a:pt x="662" y="347"/>
                    <a:pt x="662" y="347"/>
                    <a:pt x="662" y="347"/>
                  </a:cubicBezTo>
                  <a:cubicBezTo>
                    <a:pt x="662" y="346"/>
                    <a:pt x="662" y="346"/>
                    <a:pt x="662" y="345"/>
                  </a:cubicBezTo>
                  <a:cubicBezTo>
                    <a:pt x="662" y="339"/>
                    <a:pt x="662" y="339"/>
                    <a:pt x="662" y="339"/>
                  </a:cubicBezTo>
                  <a:cubicBezTo>
                    <a:pt x="691" y="320"/>
                    <a:pt x="691" y="320"/>
                    <a:pt x="691" y="320"/>
                  </a:cubicBezTo>
                  <a:cubicBezTo>
                    <a:pt x="696" y="316"/>
                    <a:pt x="699" y="310"/>
                    <a:pt x="698" y="304"/>
                  </a:cubicBezTo>
                  <a:cubicBezTo>
                    <a:pt x="696" y="282"/>
                    <a:pt x="696" y="282"/>
                    <a:pt x="696" y="282"/>
                  </a:cubicBezTo>
                  <a:cubicBezTo>
                    <a:pt x="695" y="276"/>
                    <a:pt x="691" y="271"/>
                    <a:pt x="684" y="269"/>
                  </a:cubicBezTo>
                  <a:cubicBezTo>
                    <a:pt x="650" y="259"/>
                    <a:pt x="650" y="259"/>
                    <a:pt x="650" y="259"/>
                  </a:cubicBezTo>
                  <a:cubicBezTo>
                    <a:pt x="650" y="259"/>
                    <a:pt x="650" y="259"/>
                    <a:pt x="650" y="258"/>
                  </a:cubicBezTo>
                  <a:cubicBezTo>
                    <a:pt x="645" y="243"/>
                    <a:pt x="645" y="243"/>
                    <a:pt x="645" y="243"/>
                  </a:cubicBezTo>
                  <a:cubicBezTo>
                    <a:pt x="667" y="215"/>
                    <a:pt x="667" y="215"/>
                    <a:pt x="667" y="215"/>
                  </a:cubicBezTo>
                  <a:cubicBezTo>
                    <a:pt x="671" y="211"/>
                    <a:pt x="671" y="204"/>
                    <a:pt x="668" y="198"/>
                  </a:cubicBezTo>
                  <a:cubicBezTo>
                    <a:pt x="663" y="188"/>
                    <a:pt x="663" y="188"/>
                    <a:pt x="663" y="188"/>
                  </a:cubicBezTo>
                  <a:cubicBezTo>
                    <a:pt x="663" y="187"/>
                    <a:pt x="663" y="187"/>
                    <a:pt x="662" y="186"/>
                  </a:cubicBezTo>
                  <a:cubicBezTo>
                    <a:pt x="657" y="179"/>
                    <a:pt x="657" y="179"/>
                    <a:pt x="657" y="179"/>
                  </a:cubicBezTo>
                  <a:cubicBezTo>
                    <a:pt x="654" y="174"/>
                    <a:pt x="649" y="171"/>
                    <a:pt x="644" y="171"/>
                  </a:cubicBezTo>
                  <a:cubicBezTo>
                    <a:pt x="607" y="171"/>
                    <a:pt x="607" y="171"/>
                    <a:pt x="607" y="171"/>
                  </a:cubicBezTo>
                  <a:cubicBezTo>
                    <a:pt x="603" y="165"/>
                    <a:pt x="603" y="165"/>
                    <a:pt x="603" y="165"/>
                  </a:cubicBezTo>
                  <a:cubicBezTo>
                    <a:pt x="603" y="165"/>
                    <a:pt x="602" y="165"/>
                    <a:pt x="602" y="165"/>
                  </a:cubicBezTo>
                  <a:cubicBezTo>
                    <a:pt x="599" y="160"/>
                    <a:pt x="599" y="160"/>
                    <a:pt x="599" y="160"/>
                  </a:cubicBezTo>
                  <a:cubicBezTo>
                    <a:pt x="610" y="126"/>
                    <a:pt x="610" y="126"/>
                    <a:pt x="610" y="126"/>
                  </a:cubicBezTo>
                  <a:cubicBezTo>
                    <a:pt x="612" y="120"/>
                    <a:pt x="610" y="113"/>
                    <a:pt x="606" y="109"/>
                  </a:cubicBezTo>
                  <a:cubicBezTo>
                    <a:pt x="591" y="94"/>
                    <a:pt x="591" y="94"/>
                    <a:pt x="591" y="94"/>
                  </a:cubicBezTo>
                  <a:cubicBezTo>
                    <a:pt x="586" y="89"/>
                    <a:pt x="580" y="88"/>
                    <a:pt x="574" y="90"/>
                  </a:cubicBezTo>
                  <a:cubicBezTo>
                    <a:pt x="540" y="101"/>
                    <a:pt x="540" y="101"/>
                    <a:pt x="540" y="101"/>
                  </a:cubicBezTo>
                  <a:cubicBezTo>
                    <a:pt x="540" y="101"/>
                    <a:pt x="539" y="101"/>
                    <a:pt x="539" y="100"/>
                  </a:cubicBezTo>
                  <a:cubicBezTo>
                    <a:pt x="533" y="97"/>
                    <a:pt x="533" y="97"/>
                    <a:pt x="533" y="97"/>
                  </a:cubicBezTo>
                  <a:cubicBezTo>
                    <a:pt x="528" y="93"/>
                    <a:pt x="528" y="93"/>
                    <a:pt x="528" y="93"/>
                  </a:cubicBezTo>
                  <a:cubicBezTo>
                    <a:pt x="528" y="56"/>
                    <a:pt x="528" y="56"/>
                    <a:pt x="528" y="56"/>
                  </a:cubicBezTo>
                  <a:cubicBezTo>
                    <a:pt x="528" y="50"/>
                    <a:pt x="525" y="44"/>
                    <a:pt x="519" y="42"/>
                  </a:cubicBezTo>
                  <a:cubicBezTo>
                    <a:pt x="509" y="37"/>
                    <a:pt x="509" y="37"/>
                    <a:pt x="509" y="37"/>
                  </a:cubicBezTo>
                  <a:cubicBezTo>
                    <a:pt x="509" y="36"/>
                    <a:pt x="509" y="36"/>
                    <a:pt x="508" y="36"/>
                  </a:cubicBezTo>
                  <a:cubicBezTo>
                    <a:pt x="499" y="32"/>
                    <a:pt x="499" y="32"/>
                    <a:pt x="499" y="32"/>
                  </a:cubicBezTo>
                  <a:cubicBezTo>
                    <a:pt x="494" y="30"/>
                    <a:pt x="488" y="31"/>
                    <a:pt x="484" y="34"/>
                  </a:cubicBezTo>
                  <a:cubicBezTo>
                    <a:pt x="454" y="55"/>
                    <a:pt x="454" y="55"/>
                    <a:pt x="454" y="55"/>
                  </a:cubicBezTo>
                  <a:cubicBezTo>
                    <a:pt x="449" y="53"/>
                    <a:pt x="449" y="53"/>
                    <a:pt x="449" y="53"/>
                  </a:cubicBezTo>
                  <a:cubicBezTo>
                    <a:pt x="448" y="52"/>
                    <a:pt x="447" y="52"/>
                    <a:pt x="447" y="52"/>
                  </a:cubicBezTo>
                  <a:cubicBezTo>
                    <a:pt x="440" y="50"/>
                    <a:pt x="440" y="50"/>
                    <a:pt x="440" y="50"/>
                  </a:cubicBezTo>
                  <a:cubicBezTo>
                    <a:pt x="428" y="16"/>
                    <a:pt x="428" y="16"/>
                    <a:pt x="428" y="16"/>
                  </a:cubicBezTo>
                  <a:cubicBezTo>
                    <a:pt x="427" y="11"/>
                    <a:pt x="422" y="7"/>
                    <a:pt x="417" y="6"/>
                  </a:cubicBezTo>
                  <a:cubicBezTo>
                    <a:pt x="407" y="3"/>
                    <a:pt x="407" y="3"/>
                    <a:pt x="407" y="3"/>
                  </a:cubicBezTo>
                  <a:cubicBezTo>
                    <a:pt x="406" y="3"/>
                    <a:pt x="405" y="3"/>
                    <a:pt x="405" y="3"/>
                  </a:cubicBezTo>
                  <a:cubicBezTo>
                    <a:pt x="394" y="1"/>
                    <a:pt x="394" y="1"/>
                    <a:pt x="394" y="1"/>
                  </a:cubicBezTo>
                  <a:cubicBezTo>
                    <a:pt x="388" y="1"/>
                    <a:pt x="383" y="3"/>
                    <a:pt x="379" y="8"/>
                  </a:cubicBezTo>
                  <a:cubicBezTo>
                    <a:pt x="359" y="38"/>
                    <a:pt x="359" y="38"/>
                    <a:pt x="359" y="38"/>
                  </a:cubicBezTo>
                  <a:cubicBezTo>
                    <a:pt x="352" y="37"/>
                    <a:pt x="352" y="37"/>
                    <a:pt x="352" y="37"/>
                  </a:cubicBezTo>
                  <a:cubicBezTo>
                    <a:pt x="352" y="37"/>
                    <a:pt x="351" y="37"/>
                    <a:pt x="350" y="37"/>
                  </a:cubicBezTo>
                  <a:cubicBezTo>
                    <a:pt x="342" y="38"/>
                    <a:pt x="342" y="38"/>
                    <a:pt x="342" y="38"/>
                  </a:cubicBezTo>
                  <a:cubicBezTo>
                    <a:pt x="322" y="8"/>
                    <a:pt x="322" y="8"/>
                    <a:pt x="322" y="8"/>
                  </a:cubicBezTo>
                  <a:cubicBezTo>
                    <a:pt x="318" y="3"/>
                    <a:pt x="312" y="0"/>
                    <a:pt x="306" y="2"/>
                  </a:cubicBezTo>
                  <a:cubicBezTo>
                    <a:pt x="285" y="5"/>
                    <a:pt x="285" y="5"/>
                    <a:pt x="285" y="5"/>
                  </a:cubicBezTo>
                  <a:cubicBezTo>
                    <a:pt x="279" y="7"/>
                    <a:pt x="275" y="11"/>
                    <a:pt x="273" y="16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1" y="50"/>
                    <a:pt x="261" y="50"/>
                    <a:pt x="261" y="50"/>
                  </a:cubicBezTo>
                  <a:cubicBezTo>
                    <a:pt x="253" y="52"/>
                    <a:pt x="253" y="52"/>
                    <a:pt x="253" y="52"/>
                  </a:cubicBezTo>
                  <a:cubicBezTo>
                    <a:pt x="253" y="52"/>
                    <a:pt x="253" y="53"/>
                    <a:pt x="253" y="53"/>
                  </a:cubicBezTo>
                  <a:cubicBezTo>
                    <a:pt x="247" y="55"/>
                    <a:pt x="247" y="55"/>
                    <a:pt x="247" y="55"/>
                  </a:cubicBezTo>
                  <a:cubicBezTo>
                    <a:pt x="217" y="34"/>
                    <a:pt x="217" y="34"/>
                    <a:pt x="217" y="34"/>
                  </a:cubicBezTo>
                  <a:cubicBezTo>
                    <a:pt x="213" y="31"/>
                    <a:pt x="207" y="30"/>
                    <a:pt x="202" y="32"/>
                  </a:cubicBezTo>
                  <a:cubicBezTo>
                    <a:pt x="193" y="36"/>
                    <a:pt x="193" y="36"/>
                    <a:pt x="193" y="36"/>
                  </a:cubicBezTo>
                  <a:cubicBezTo>
                    <a:pt x="192" y="36"/>
                    <a:pt x="192" y="36"/>
                    <a:pt x="192" y="37"/>
                  </a:cubicBezTo>
                  <a:cubicBezTo>
                    <a:pt x="181" y="42"/>
                    <a:pt x="181" y="42"/>
                    <a:pt x="181" y="42"/>
                  </a:cubicBezTo>
                  <a:cubicBezTo>
                    <a:pt x="176" y="45"/>
                    <a:pt x="172" y="50"/>
                    <a:pt x="173" y="57"/>
                  </a:cubicBezTo>
                  <a:cubicBezTo>
                    <a:pt x="174" y="93"/>
                    <a:pt x="174" y="93"/>
                    <a:pt x="174" y="93"/>
                  </a:cubicBezTo>
                  <a:cubicBezTo>
                    <a:pt x="162" y="101"/>
                    <a:pt x="162" y="101"/>
                    <a:pt x="162" y="101"/>
                  </a:cubicBezTo>
                  <a:cubicBezTo>
                    <a:pt x="127" y="90"/>
                    <a:pt x="127" y="90"/>
                    <a:pt x="127" y="90"/>
                  </a:cubicBezTo>
                  <a:cubicBezTo>
                    <a:pt x="121" y="88"/>
                    <a:pt x="115" y="89"/>
                    <a:pt x="110" y="94"/>
                  </a:cubicBezTo>
                  <a:cubicBezTo>
                    <a:pt x="95" y="109"/>
                    <a:pt x="95" y="109"/>
                    <a:pt x="95" y="109"/>
                  </a:cubicBezTo>
                  <a:cubicBezTo>
                    <a:pt x="90" y="113"/>
                    <a:pt x="89" y="120"/>
                    <a:pt x="91" y="126"/>
                  </a:cubicBezTo>
                  <a:cubicBezTo>
                    <a:pt x="102" y="159"/>
                    <a:pt x="102" y="159"/>
                    <a:pt x="102" y="159"/>
                  </a:cubicBezTo>
                  <a:cubicBezTo>
                    <a:pt x="102" y="159"/>
                    <a:pt x="102" y="160"/>
                    <a:pt x="101" y="160"/>
                  </a:cubicBezTo>
                  <a:cubicBezTo>
                    <a:pt x="98" y="166"/>
                    <a:pt x="98" y="166"/>
                    <a:pt x="98" y="166"/>
                  </a:cubicBezTo>
                  <a:cubicBezTo>
                    <a:pt x="94" y="171"/>
                    <a:pt x="94" y="171"/>
                    <a:pt x="94" y="171"/>
                  </a:cubicBezTo>
                  <a:cubicBezTo>
                    <a:pt x="57" y="171"/>
                    <a:pt x="57" y="171"/>
                    <a:pt x="57" y="171"/>
                  </a:cubicBezTo>
                  <a:cubicBezTo>
                    <a:pt x="52" y="171"/>
                    <a:pt x="47" y="174"/>
                    <a:pt x="44" y="179"/>
                  </a:cubicBezTo>
                  <a:cubicBezTo>
                    <a:pt x="39" y="186"/>
                    <a:pt x="39" y="186"/>
                    <a:pt x="39" y="186"/>
                  </a:cubicBezTo>
                  <a:cubicBezTo>
                    <a:pt x="38" y="187"/>
                    <a:pt x="38" y="187"/>
                    <a:pt x="38" y="188"/>
                  </a:cubicBezTo>
                  <a:cubicBezTo>
                    <a:pt x="32" y="198"/>
                    <a:pt x="32" y="198"/>
                    <a:pt x="32" y="198"/>
                  </a:cubicBezTo>
                  <a:cubicBezTo>
                    <a:pt x="30" y="204"/>
                    <a:pt x="30" y="211"/>
                    <a:pt x="34" y="215"/>
                  </a:cubicBezTo>
                  <a:cubicBezTo>
                    <a:pt x="56" y="243"/>
                    <a:pt x="56" y="243"/>
                    <a:pt x="56" y="243"/>
                  </a:cubicBezTo>
                  <a:cubicBezTo>
                    <a:pt x="53" y="251"/>
                    <a:pt x="53" y="251"/>
                    <a:pt x="53" y="251"/>
                  </a:cubicBezTo>
                  <a:cubicBezTo>
                    <a:pt x="53" y="251"/>
                    <a:pt x="53" y="252"/>
                    <a:pt x="53" y="252"/>
                  </a:cubicBezTo>
                  <a:cubicBezTo>
                    <a:pt x="52" y="258"/>
                    <a:pt x="52" y="258"/>
                    <a:pt x="52" y="258"/>
                  </a:cubicBezTo>
                  <a:cubicBezTo>
                    <a:pt x="17" y="269"/>
                    <a:pt x="17" y="269"/>
                    <a:pt x="17" y="269"/>
                  </a:cubicBezTo>
                  <a:cubicBezTo>
                    <a:pt x="11" y="270"/>
                    <a:pt x="7" y="275"/>
                    <a:pt x="5" y="280"/>
                  </a:cubicBezTo>
                  <a:cubicBezTo>
                    <a:pt x="3" y="291"/>
                    <a:pt x="3" y="291"/>
                    <a:pt x="3" y="291"/>
                  </a:cubicBezTo>
                  <a:cubicBezTo>
                    <a:pt x="3" y="291"/>
                    <a:pt x="3" y="292"/>
                    <a:pt x="2" y="293"/>
                  </a:cubicBezTo>
                  <a:cubicBezTo>
                    <a:pt x="1" y="304"/>
                    <a:pt x="1" y="304"/>
                    <a:pt x="1" y="304"/>
                  </a:cubicBezTo>
                  <a:cubicBezTo>
                    <a:pt x="1" y="310"/>
                    <a:pt x="3" y="316"/>
                    <a:pt x="9" y="320"/>
                  </a:cubicBezTo>
                  <a:cubicBezTo>
                    <a:pt x="39" y="339"/>
                    <a:pt x="39" y="339"/>
                    <a:pt x="39" y="339"/>
                  </a:cubicBezTo>
                  <a:cubicBezTo>
                    <a:pt x="39" y="345"/>
                    <a:pt x="39" y="345"/>
                    <a:pt x="39" y="345"/>
                  </a:cubicBezTo>
                  <a:cubicBezTo>
                    <a:pt x="38" y="346"/>
                    <a:pt x="38" y="346"/>
                    <a:pt x="39" y="347"/>
                  </a:cubicBezTo>
                  <a:cubicBezTo>
                    <a:pt x="39" y="353"/>
                    <a:pt x="39" y="353"/>
                    <a:pt x="39" y="353"/>
                  </a:cubicBezTo>
                  <a:cubicBezTo>
                    <a:pt x="8" y="374"/>
                    <a:pt x="8" y="374"/>
                    <a:pt x="8" y="374"/>
                  </a:cubicBezTo>
                  <a:cubicBezTo>
                    <a:pt x="3" y="377"/>
                    <a:pt x="0" y="384"/>
                    <a:pt x="1" y="390"/>
                  </a:cubicBezTo>
                  <a:cubicBezTo>
                    <a:pt x="5" y="411"/>
                    <a:pt x="5" y="411"/>
                    <a:pt x="5" y="411"/>
                  </a:cubicBezTo>
                  <a:cubicBezTo>
                    <a:pt x="6" y="417"/>
                    <a:pt x="10" y="421"/>
                    <a:pt x="16" y="423"/>
                  </a:cubicBezTo>
                  <a:cubicBezTo>
                    <a:pt x="52" y="435"/>
                    <a:pt x="52" y="435"/>
                    <a:pt x="52" y="435"/>
                  </a:cubicBezTo>
                  <a:cubicBezTo>
                    <a:pt x="53" y="440"/>
                    <a:pt x="53" y="440"/>
                    <a:pt x="53" y="440"/>
                  </a:cubicBezTo>
                  <a:cubicBezTo>
                    <a:pt x="53" y="441"/>
                    <a:pt x="53" y="442"/>
                    <a:pt x="54" y="443"/>
                  </a:cubicBezTo>
                  <a:cubicBezTo>
                    <a:pt x="56" y="449"/>
                    <a:pt x="56" y="449"/>
                    <a:pt x="56" y="449"/>
                  </a:cubicBezTo>
                  <a:cubicBezTo>
                    <a:pt x="34" y="478"/>
                    <a:pt x="34" y="478"/>
                    <a:pt x="34" y="478"/>
                  </a:cubicBezTo>
                  <a:cubicBezTo>
                    <a:pt x="30" y="483"/>
                    <a:pt x="30" y="490"/>
                    <a:pt x="33" y="496"/>
                  </a:cubicBezTo>
                  <a:cubicBezTo>
                    <a:pt x="43" y="514"/>
                    <a:pt x="43" y="514"/>
                    <a:pt x="43" y="514"/>
                  </a:cubicBezTo>
                  <a:cubicBezTo>
                    <a:pt x="46" y="519"/>
                    <a:pt x="52" y="522"/>
                    <a:pt x="58" y="522"/>
                  </a:cubicBezTo>
                  <a:cubicBezTo>
                    <a:pt x="94" y="521"/>
                    <a:pt x="94" y="521"/>
                    <a:pt x="94" y="521"/>
                  </a:cubicBezTo>
                  <a:cubicBezTo>
                    <a:pt x="98" y="527"/>
                    <a:pt x="98" y="527"/>
                    <a:pt x="98" y="527"/>
                  </a:cubicBezTo>
                  <a:cubicBezTo>
                    <a:pt x="98" y="528"/>
                    <a:pt x="98" y="528"/>
                    <a:pt x="99" y="529"/>
                  </a:cubicBezTo>
                  <a:cubicBezTo>
                    <a:pt x="102" y="533"/>
                    <a:pt x="102" y="533"/>
                    <a:pt x="102" y="533"/>
                  </a:cubicBezTo>
                  <a:cubicBezTo>
                    <a:pt x="91" y="568"/>
                    <a:pt x="91" y="568"/>
                    <a:pt x="91" y="568"/>
                  </a:cubicBezTo>
                  <a:cubicBezTo>
                    <a:pt x="89" y="573"/>
                    <a:pt x="90" y="580"/>
                    <a:pt x="95" y="584"/>
                  </a:cubicBezTo>
                  <a:cubicBezTo>
                    <a:pt x="110" y="600"/>
                    <a:pt x="110" y="600"/>
                    <a:pt x="110" y="600"/>
                  </a:cubicBezTo>
                  <a:cubicBezTo>
                    <a:pt x="115" y="604"/>
                    <a:pt x="121" y="605"/>
                    <a:pt x="127" y="603"/>
                  </a:cubicBezTo>
                  <a:cubicBezTo>
                    <a:pt x="162" y="592"/>
                    <a:pt x="162" y="592"/>
                    <a:pt x="162" y="592"/>
                  </a:cubicBezTo>
                  <a:cubicBezTo>
                    <a:pt x="167" y="596"/>
                    <a:pt x="167" y="596"/>
                    <a:pt x="167" y="596"/>
                  </a:cubicBezTo>
                  <a:cubicBezTo>
                    <a:pt x="167" y="596"/>
                    <a:pt x="168" y="596"/>
                    <a:pt x="168" y="596"/>
                  </a:cubicBezTo>
                  <a:cubicBezTo>
                    <a:pt x="174" y="600"/>
                    <a:pt x="174" y="600"/>
                    <a:pt x="174" y="600"/>
                  </a:cubicBezTo>
                  <a:cubicBezTo>
                    <a:pt x="173" y="635"/>
                    <a:pt x="173" y="635"/>
                    <a:pt x="173" y="635"/>
                  </a:cubicBezTo>
                  <a:cubicBezTo>
                    <a:pt x="172" y="641"/>
                    <a:pt x="175" y="647"/>
                    <a:pt x="180" y="650"/>
                  </a:cubicBezTo>
                  <a:cubicBezTo>
                    <a:pt x="190" y="656"/>
                    <a:pt x="190" y="656"/>
                    <a:pt x="190" y="656"/>
                  </a:cubicBezTo>
                  <a:cubicBezTo>
                    <a:pt x="191" y="656"/>
                    <a:pt x="192" y="657"/>
                    <a:pt x="193" y="657"/>
                  </a:cubicBezTo>
                  <a:cubicBezTo>
                    <a:pt x="202" y="661"/>
                    <a:pt x="202" y="661"/>
                    <a:pt x="202" y="661"/>
                  </a:cubicBezTo>
                  <a:cubicBezTo>
                    <a:pt x="207" y="663"/>
                    <a:pt x="213" y="663"/>
                    <a:pt x="218" y="659"/>
                  </a:cubicBezTo>
                  <a:cubicBezTo>
                    <a:pt x="245" y="638"/>
                    <a:pt x="245" y="638"/>
                    <a:pt x="245" y="638"/>
                  </a:cubicBezTo>
                  <a:cubicBezTo>
                    <a:pt x="246" y="639"/>
                    <a:pt x="247" y="639"/>
                    <a:pt x="248" y="639"/>
                  </a:cubicBezTo>
                  <a:cubicBezTo>
                    <a:pt x="254" y="640"/>
                    <a:pt x="254" y="640"/>
                    <a:pt x="254" y="640"/>
                  </a:cubicBezTo>
                  <a:cubicBezTo>
                    <a:pt x="261" y="642"/>
                    <a:pt x="261" y="642"/>
                    <a:pt x="261" y="642"/>
                  </a:cubicBezTo>
                  <a:cubicBezTo>
                    <a:pt x="273" y="677"/>
                    <a:pt x="273" y="677"/>
                    <a:pt x="273" y="677"/>
                  </a:cubicBezTo>
                  <a:cubicBezTo>
                    <a:pt x="275" y="683"/>
                    <a:pt x="280" y="687"/>
                    <a:pt x="286" y="688"/>
                  </a:cubicBezTo>
                  <a:cubicBezTo>
                    <a:pt x="307" y="691"/>
                    <a:pt x="307" y="691"/>
                    <a:pt x="307" y="691"/>
                  </a:cubicBezTo>
                  <a:cubicBezTo>
                    <a:pt x="312" y="691"/>
                    <a:pt x="318" y="689"/>
                    <a:pt x="322" y="684"/>
                  </a:cubicBezTo>
                  <a:cubicBezTo>
                    <a:pt x="343" y="655"/>
                    <a:pt x="343" y="655"/>
                    <a:pt x="343" y="655"/>
                  </a:cubicBezTo>
                  <a:cubicBezTo>
                    <a:pt x="358" y="655"/>
                    <a:pt x="358" y="655"/>
                    <a:pt x="358" y="655"/>
                  </a:cubicBezTo>
                  <a:cubicBezTo>
                    <a:pt x="379" y="684"/>
                    <a:pt x="379" y="684"/>
                    <a:pt x="379" y="684"/>
                  </a:cubicBezTo>
                  <a:cubicBezTo>
                    <a:pt x="382" y="688"/>
                    <a:pt x="387" y="691"/>
                    <a:pt x="392" y="691"/>
                  </a:cubicBezTo>
                  <a:cubicBezTo>
                    <a:pt x="393" y="691"/>
                    <a:pt x="394" y="691"/>
                    <a:pt x="394" y="691"/>
                  </a:cubicBezTo>
                  <a:cubicBezTo>
                    <a:pt x="415" y="688"/>
                    <a:pt x="415" y="688"/>
                    <a:pt x="415" y="688"/>
                  </a:cubicBezTo>
                  <a:cubicBezTo>
                    <a:pt x="421" y="687"/>
                    <a:pt x="426" y="683"/>
                    <a:pt x="428" y="677"/>
                  </a:cubicBezTo>
                  <a:cubicBezTo>
                    <a:pt x="440" y="642"/>
                    <a:pt x="440" y="642"/>
                    <a:pt x="440" y="642"/>
                  </a:cubicBezTo>
                  <a:cubicBezTo>
                    <a:pt x="448" y="640"/>
                    <a:pt x="448" y="640"/>
                    <a:pt x="448" y="640"/>
                  </a:cubicBezTo>
                  <a:cubicBezTo>
                    <a:pt x="448" y="640"/>
                    <a:pt x="448" y="639"/>
                    <a:pt x="448" y="639"/>
                  </a:cubicBezTo>
                  <a:cubicBezTo>
                    <a:pt x="454" y="637"/>
                    <a:pt x="454" y="637"/>
                    <a:pt x="454" y="637"/>
                  </a:cubicBezTo>
                  <a:cubicBezTo>
                    <a:pt x="483" y="659"/>
                    <a:pt x="483" y="659"/>
                    <a:pt x="483" y="659"/>
                  </a:cubicBezTo>
                  <a:cubicBezTo>
                    <a:pt x="488" y="663"/>
                    <a:pt x="494" y="663"/>
                    <a:pt x="499" y="661"/>
                  </a:cubicBezTo>
                  <a:cubicBezTo>
                    <a:pt x="508" y="657"/>
                    <a:pt x="508" y="657"/>
                    <a:pt x="508" y="657"/>
                  </a:cubicBezTo>
                  <a:cubicBezTo>
                    <a:pt x="509" y="657"/>
                    <a:pt x="510" y="656"/>
                    <a:pt x="510" y="656"/>
                  </a:cubicBezTo>
                  <a:cubicBezTo>
                    <a:pt x="521" y="650"/>
                    <a:pt x="521" y="650"/>
                    <a:pt x="521" y="650"/>
                  </a:cubicBezTo>
                  <a:cubicBezTo>
                    <a:pt x="525" y="647"/>
                    <a:pt x="528" y="641"/>
                    <a:pt x="528" y="636"/>
                  </a:cubicBezTo>
                  <a:cubicBezTo>
                    <a:pt x="528" y="600"/>
                    <a:pt x="528" y="600"/>
                    <a:pt x="528" y="600"/>
                  </a:cubicBezTo>
                  <a:cubicBezTo>
                    <a:pt x="533" y="596"/>
                    <a:pt x="533" y="596"/>
                    <a:pt x="533" y="596"/>
                  </a:cubicBezTo>
                  <a:cubicBezTo>
                    <a:pt x="539" y="592"/>
                    <a:pt x="539" y="592"/>
                    <a:pt x="539" y="592"/>
                  </a:cubicBezTo>
                  <a:cubicBezTo>
                    <a:pt x="574" y="603"/>
                    <a:pt x="574" y="603"/>
                    <a:pt x="574" y="603"/>
                  </a:cubicBezTo>
                  <a:cubicBezTo>
                    <a:pt x="580" y="605"/>
                    <a:pt x="586" y="604"/>
                    <a:pt x="591" y="600"/>
                  </a:cubicBezTo>
                  <a:cubicBezTo>
                    <a:pt x="606" y="584"/>
                    <a:pt x="606" y="584"/>
                    <a:pt x="606" y="584"/>
                  </a:cubicBezTo>
                  <a:cubicBezTo>
                    <a:pt x="610" y="580"/>
                    <a:pt x="612" y="573"/>
                    <a:pt x="610" y="568"/>
                  </a:cubicBezTo>
                  <a:cubicBezTo>
                    <a:pt x="599" y="533"/>
                    <a:pt x="599" y="533"/>
                    <a:pt x="599" y="533"/>
                  </a:cubicBezTo>
                  <a:cubicBezTo>
                    <a:pt x="602" y="528"/>
                    <a:pt x="602" y="528"/>
                    <a:pt x="602" y="528"/>
                  </a:cubicBezTo>
                  <a:cubicBezTo>
                    <a:pt x="603" y="528"/>
                    <a:pt x="603" y="528"/>
                    <a:pt x="603" y="527"/>
                  </a:cubicBezTo>
                  <a:cubicBezTo>
                    <a:pt x="607" y="521"/>
                    <a:pt x="607" y="521"/>
                    <a:pt x="607" y="521"/>
                  </a:cubicBezTo>
                  <a:cubicBezTo>
                    <a:pt x="643" y="522"/>
                    <a:pt x="643" y="522"/>
                    <a:pt x="643" y="522"/>
                  </a:cubicBezTo>
                  <a:cubicBezTo>
                    <a:pt x="649" y="522"/>
                    <a:pt x="655" y="519"/>
                    <a:pt x="658" y="514"/>
                  </a:cubicBezTo>
                  <a:cubicBezTo>
                    <a:pt x="668" y="496"/>
                    <a:pt x="668" y="496"/>
                    <a:pt x="668" y="496"/>
                  </a:cubicBezTo>
                  <a:cubicBezTo>
                    <a:pt x="671" y="490"/>
                    <a:pt x="671" y="483"/>
                    <a:pt x="667" y="478"/>
                  </a:cubicBezTo>
                  <a:cubicBezTo>
                    <a:pt x="645" y="449"/>
                    <a:pt x="645" y="449"/>
                    <a:pt x="645" y="449"/>
                  </a:cubicBezTo>
                  <a:cubicBezTo>
                    <a:pt x="647" y="443"/>
                    <a:pt x="647" y="443"/>
                    <a:pt x="647" y="443"/>
                  </a:cubicBezTo>
                  <a:cubicBezTo>
                    <a:pt x="647" y="443"/>
                    <a:pt x="648" y="442"/>
                    <a:pt x="648" y="441"/>
                  </a:cubicBezTo>
                  <a:cubicBezTo>
                    <a:pt x="649" y="435"/>
                    <a:pt x="649" y="435"/>
                    <a:pt x="649" y="435"/>
                  </a:cubicBezTo>
                  <a:cubicBezTo>
                    <a:pt x="685" y="423"/>
                    <a:pt x="685" y="423"/>
                    <a:pt x="685" y="423"/>
                  </a:cubicBezTo>
                  <a:cubicBezTo>
                    <a:pt x="691" y="421"/>
                    <a:pt x="695" y="416"/>
                    <a:pt x="696" y="410"/>
                  </a:cubicBezTo>
                  <a:cubicBezTo>
                    <a:pt x="698" y="389"/>
                    <a:pt x="698" y="389"/>
                    <a:pt x="698" y="389"/>
                  </a:cubicBezTo>
                  <a:cubicBezTo>
                    <a:pt x="699" y="383"/>
                    <a:pt x="697" y="377"/>
                    <a:pt x="692" y="37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CH" sz="1600" dirty="0"/>
            </a:p>
          </p:txBody>
        </p:sp>
        <p:sp>
          <p:nvSpPr>
            <p:cNvPr id="10" name="Oval 15">
              <a:extLst>
                <a:ext uri="{FF2B5EF4-FFF2-40B4-BE49-F238E27FC236}">
                  <a16:creationId xmlns:a16="http://schemas.microsoft.com/office/drawing/2014/main" id="{1D2C3EF5-91F4-4EA5-8FAA-051A13E931D9}"/>
                </a:ext>
              </a:extLst>
            </p:cNvPr>
            <p:cNvSpPr/>
            <p:nvPr/>
          </p:nvSpPr>
          <p:spPr>
            <a:xfrm>
              <a:off x="11696315" y="6362315"/>
              <a:ext cx="359032" cy="35903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</p:grpSp>
    </p:spTree>
    <p:extLst>
      <p:ext uri="{BB962C8B-B14F-4D97-AF65-F5344CB8AC3E}">
        <p14:creationId xmlns:p14="http://schemas.microsoft.com/office/powerpoint/2010/main" val="1301313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5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A13FF3-A3B4-402D-91B1-C176C247EB92}" type="datetimeFigureOut">
              <a:rPr lang="fr-CH" smtClean="0"/>
              <a:t>05.04.2019</a:t>
            </a:fld>
            <a:endParaRPr lang="fr-CH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107053-0274-46BF-A48C-B751F6C03B80}" type="slidenum">
              <a:rPr lang="fr-CH" smtClean="0"/>
              <a:t>‹N°›</a:t>
            </a:fld>
            <a:endParaRPr lang="fr-CH"/>
          </a:p>
        </p:txBody>
      </p:sp>
      <p:sp>
        <p:nvSpPr>
          <p:cNvPr id="5" name="Freeform 4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" name="Freeform 5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7" name="Group 12">
            <a:extLst>
              <a:ext uri="{FF2B5EF4-FFF2-40B4-BE49-F238E27FC236}">
                <a16:creationId xmlns:a16="http://schemas.microsoft.com/office/drawing/2014/main" id="{FE631610-70A9-41D0-8450-C9A5949DE67A}"/>
              </a:ext>
            </a:extLst>
          </p:cNvPr>
          <p:cNvGrpSpPr/>
          <p:nvPr userDrawn="1"/>
        </p:nvGrpSpPr>
        <p:grpSpPr>
          <a:xfrm>
            <a:off x="11588238" y="6254238"/>
            <a:ext cx="575187" cy="575187"/>
            <a:chOff x="11588238" y="6254238"/>
            <a:chExt cx="575187" cy="575187"/>
          </a:xfrm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B8939D98-7FFE-4159-9245-08B614637AC2}"/>
                </a:ext>
              </a:extLst>
            </p:cNvPr>
            <p:cNvSpPr>
              <a:spLocks/>
            </p:cNvSpPr>
            <p:nvPr>
              <p:custDataLst>
                <p:tags r:id="rId1"/>
              </p:custDataLst>
            </p:nvPr>
          </p:nvSpPr>
          <p:spPr bwMode="gray">
            <a:xfrm>
              <a:off x="11588238" y="6254238"/>
              <a:ext cx="575187" cy="575187"/>
            </a:xfrm>
            <a:custGeom>
              <a:avLst/>
              <a:gdLst>
                <a:gd name="T0" fmla="*/ 662 w 699"/>
                <a:gd name="T1" fmla="*/ 347 h 691"/>
                <a:gd name="T2" fmla="*/ 691 w 699"/>
                <a:gd name="T3" fmla="*/ 320 h 691"/>
                <a:gd name="T4" fmla="*/ 684 w 699"/>
                <a:gd name="T5" fmla="*/ 269 h 691"/>
                <a:gd name="T6" fmla="*/ 645 w 699"/>
                <a:gd name="T7" fmla="*/ 243 h 691"/>
                <a:gd name="T8" fmla="*/ 663 w 699"/>
                <a:gd name="T9" fmla="*/ 188 h 691"/>
                <a:gd name="T10" fmla="*/ 644 w 699"/>
                <a:gd name="T11" fmla="*/ 171 h 691"/>
                <a:gd name="T12" fmla="*/ 602 w 699"/>
                <a:gd name="T13" fmla="*/ 165 h 691"/>
                <a:gd name="T14" fmla="*/ 606 w 699"/>
                <a:gd name="T15" fmla="*/ 109 h 691"/>
                <a:gd name="T16" fmla="*/ 540 w 699"/>
                <a:gd name="T17" fmla="*/ 101 h 691"/>
                <a:gd name="T18" fmla="*/ 528 w 699"/>
                <a:gd name="T19" fmla="*/ 93 h 691"/>
                <a:gd name="T20" fmla="*/ 509 w 699"/>
                <a:gd name="T21" fmla="*/ 37 h 691"/>
                <a:gd name="T22" fmla="*/ 484 w 699"/>
                <a:gd name="T23" fmla="*/ 34 h 691"/>
                <a:gd name="T24" fmla="*/ 447 w 699"/>
                <a:gd name="T25" fmla="*/ 52 h 691"/>
                <a:gd name="T26" fmla="*/ 417 w 699"/>
                <a:gd name="T27" fmla="*/ 6 h 691"/>
                <a:gd name="T28" fmla="*/ 394 w 699"/>
                <a:gd name="T29" fmla="*/ 1 h 691"/>
                <a:gd name="T30" fmla="*/ 352 w 699"/>
                <a:gd name="T31" fmla="*/ 37 h 691"/>
                <a:gd name="T32" fmla="*/ 322 w 699"/>
                <a:gd name="T33" fmla="*/ 8 h 691"/>
                <a:gd name="T34" fmla="*/ 273 w 699"/>
                <a:gd name="T35" fmla="*/ 16 h 691"/>
                <a:gd name="T36" fmla="*/ 253 w 699"/>
                <a:gd name="T37" fmla="*/ 52 h 691"/>
                <a:gd name="T38" fmla="*/ 217 w 699"/>
                <a:gd name="T39" fmla="*/ 34 h 691"/>
                <a:gd name="T40" fmla="*/ 192 w 699"/>
                <a:gd name="T41" fmla="*/ 37 h 691"/>
                <a:gd name="T42" fmla="*/ 174 w 699"/>
                <a:gd name="T43" fmla="*/ 93 h 691"/>
                <a:gd name="T44" fmla="*/ 110 w 699"/>
                <a:gd name="T45" fmla="*/ 94 h 691"/>
                <a:gd name="T46" fmla="*/ 102 w 699"/>
                <a:gd name="T47" fmla="*/ 159 h 691"/>
                <a:gd name="T48" fmla="*/ 94 w 699"/>
                <a:gd name="T49" fmla="*/ 171 h 691"/>
                <a:gd name="T50" fmla="*/ 39 w 699"/>
                <a:gd name="T51" fmla="*/ 186 h 691"/>
                <a:gd name="T52" fmla="*/ 34 w 699"/>
                <a:gd name="T53" fmla="*/ 215 h 691"/>
                <a:gd name="T54" fmla="*/ 53 w 699"/>
                <a:gd name="T55" fmla="*/ 252 h 691"/>
                <a:gd name="T56" fmla="*/ 5 w 699"/>
                <a:gd name="T57" fmla="*/ 280 h 691"/>
                <a:gd name="T58" fmla="*/ 1 w 699"/>
                <a:gd name="T59" fmla="*/ 304 h 691"/>
                <a:gd name="T60" fmla="*/ 39 w 699"/>
                <a:gd name="T61" fmla="*/ 345 h 691"/>
                <a:gd name="T62" fmla="*/ 8 w 699"/>
                <a:gd name="T63" fmla="*/ 374 h 691"/>
                <a:gd name="T64" fmla="*/ 16 w 699"/>
                <a:gd name="T65" fmla="*/ 423 h 691"/>
                <a:gd name="T66" fmla="*/ 54 w 699"/>
                <a:gd name="T67" fmla="*/ 443 h 691"/>
                <a:gd name="T68" fmla="*/ 33 w 699"/>
                <a:gd name="T69" fmla="*/ 496 h 691"/>
                <a:gd name="T70" fmla="*/ 94 w 699"/>
                <a:gd name="T71" fmla="*/ 521 h 691"/>
                <a:gd name="T72" fmla="*/ 102 w 699"/>
                <a:gd name="T73" fmla="*/ 533 h 691"/>
                <a:gd name="T74" fmla="*/ 110 w 699"/>
                <a:gd name="T75" fmla="*/ 600 h 691"/>
                <a:gd name="T76" fmla="*/ 167 w 699"/>
                <a:gd name="T77" fmla="*/ 596 h 691"/>
                <a:gd name="T78" fmla="*/ 173 w 699"/>
                <a:gd name="T79" fmla="*/ 635 h 691"/>
                <a:gd name="T80" fmla="*/ 193 w 699"/>
                <a:gd name="T81" fmla="*/ 657 h 691"/>
                <a:gd name="T82" fmla="*/ 245 w 699"/>
                <a:gd name="T83" fmla="*/ 638 h 691"/>
                <a:gd name="T84" fmla="*/ 261 w 699"/>
                <a:gd name="T85" fmla="*/ 642 h 691"/>
                <a:gd name="T86" fmla="*/ 307 w 699"/>
                <a:gd name="T87" fmla="*/ 691 h 691"/>
                <a:gd name="T88" fmla="*/ 358 w 699"/>
                <a:gd name="T89" fmla="*/ 655 h 691"/>
                <a:gd name="T90" fmla="*/ 394 w 699"/>
                <a:gd name="T91" fmla="*/ 691 h 691"/>
                <a:gd name="T92" fmla="*/ 440 w 699"/>
                <a:gd name="T93" fmla="*/ 642 h 691"/>
                <a:gd name="T94" fmla="*/ 454 w 699"/>
                <a:gd name="T95" fmla="*/ 637 h 691"/>
                <a:gd name="T96" fmla="*/ 508 w 699"/>
                <a:gd name="T97" fmla="*/ 657 h 691"/>
                <a:gd name="T98" fmla="*/ 528 w 699"/>
                <a:gd name="T99" fmla="*/ 636 h 691"/>
                <a:gd name="T100" fmla="*/ 539 w 699"/>
                <a:gd name="T101" fmla="*/ 592 h 691"/>
                <a:gd name="T102" fmla="*/ 606 w 699"/>
                <a:gd name="T103" fmla="*/ 584 h 691"/>
                <a:gd name="T104" fmla="*/ 602 w 699"/>
                <a:gd name="T105" fmla="*/ 528 h 691"/>
                <a:gd name="T106" fmla="*/ 643 w 699"/>
                <a:gd name="T107" fmla="*/ 522 h 691"/>
                <a:gd name="T108" fmla="*/ 667 w 699"/>
                <a:gd name="T109" fmla="*/ 478 h 691"/>
                <a:gd name="T110" fmla="*/ 648 w 699"/>
                <a:gd name="T111" fmla="*/ 441 h 691"/>
                <a:gd name="T112" fmla="*/ 696 w 699"/>
                <a:gd name="T113" fmla="*/ 410 h 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99" h="691">
                  <a:moveTo>
                    <a:pt x="692" y="374"/>
                  </a:moveTo>
                  <a:cubicBezTo>
                    <a:pt x="662" y="354"/>
                    <a:pt x="662" y="354"/>
                    <a:pt x="662" y="354"/>
                  </a:cubicBezTo>
                  <a:cubicBezTo>
                    <a:pt x="662" y="347"/>
                    <a:pt x="662" y="347"/>
                    <a:pt x="662" y="347"/>
                  </a:cubicBezTo>
                  <a:cubicBezTo>
                    <a:pt x="662" y="346"/>
                    <a:pt x="662" y="346"/>
                    <a:pt x="662" y="345"/>
                  </a:cubicBezTo>
                  <a:cubicBezTo>
                    <a:pt x="662" y="339"/>
                    <a:pt x="662" y="339"/>
                    <a:pt x="662" y="339"/>
                  </a:cubicBezTo>
                  <a:cubicBezTo>
                    <a:pt x="691" y="320"/>
                    <a:pt x="691" y="320"/>
                    <a:pt x="691" y="320"/>
                  </a:cubicBezTo>
                  <a:cubicBezTo>
                    <a:pt x="696" y="316"/>
                    <a:pt x="699" y="310"/>
                    <a:pt x="698" y="304"/>
                  </a:cubicBezTo>
                  <a:cubicBezTo>
                    <a:pt x="696" y="282"/>
                    <a:pt x="696" y="282"/>
                    <a:pt x="696" y="282"/>
                  </a:cubicBezTo>
                  <a:cubicBezTo>
                    <a:pt x="695" y="276"/>
                    <a:pt x="691" y="271"/>
                    <a:pt x="684" y="269"/>
                  </a:cubicBezTo>
                  <a:cubicBezTo>
                    <a:pt x="650" y="259"/>
                    <a:pt x="650" y="259"/>
                    <a:pt x="650" y="259"/>
                  </a:cubicBezTo>
                  <a:cubicBezTo>
                    <a:pt x="650" y="259"/>
                    <a:pt x="650" y="259"/>
                    <a:pt x="650" y="258"/>
                  </a:cubicBezTo>
                  <a:cubicBezTo>
                    <a:pt x="645" y="243"/>
                    <a:pt x="645" y="243"/>
                    <a:pt x="645" y="243"/>
                  </a:cubicBezTo>
                  <a:cubicBezTo>
                    <a:pt x="667" y="215"/>
                    <a:pt x="667" y="215"/>
                    <a:pt x="667" y="215"/>
                  </a:cubicBezTo>
                  <a:cubicBezTo>
                    <a:pt x="671" y="211"/>
                    <a:pt x="671" y="204"/>
                    <a:pt x="668" y="198"/>
                  </a:cubicBezTo>
                  <a:cubicBezTo>
                    <a:pt x="663" y="188"/>
                    <a:pt x="663" y="188"/>
                    <a:pt x="663" y="188"/>
                  </a:cubicBezTo>
                  <a:cubicBezTo>
                    <a:pt x="663" y="187"/>
                    <a:pt x="663" y="187"/>
                    <a:pt x="662" y="186"/>
                  </a:cubicBezTo>
                  <a:cubicBezTo>
                    <a:pt x="657" y="179"/>
                    <a:pt x="657" y="179"/>
                    <a:pt x="657" y="179"/>
                  </a:cubicBezTo>
                  <a:cubicBezTo>
                    <a:pt x="654" y="174"/>
                    <a:pt x="649" y="171"/>
                    <a:pt x="644" y="171"/>
                  </a:cubicBezTo>
                  <a:cubicBezTo>
                    <a:pt x="607" y="171"/>
                    <a:pt x="607" y="171"/>
                    <a:pt x="607" y="171"/>
                  </a:cubicBezTo>
                  <a:cubicBezTo>
                    <a:pt x="603" y="165"/>
                    <a:pt x="603" y="165"/>
                    <a:pt x="603" y="165"/>
                  </a:cubicBezTo>
                  <a:cubicBezTo>
                    <a:pt x="603" y="165"/>
                    <a:pt x="602" y="165"/>
                    <a:pt x="602" y="165"/>
                  </a:cubicBezTo>
                  <a:cubicBezTo>
                    <a:pt x="599" y="160"/>
                    <a:pt x="599" y="160"/>
                    <a:pt x="599" y="160"/>
                  </a:cubicBezTo>
                  <a:cubicBezTo>
                    <a:pt x="610" y="126"/>
                    <a:pt x="610" y="126"/>
                    <a:pt x="610" y="126"/>
                  </a:cubicBezTo>
                  <a:cubicBezTo>
                    <a:pt x="612" y="120"/>
                    <a:pt x="610" y="113"/>
                    <a:pt x="606" y="109"/>
                  </a:cubicBezTo>
                  <a:cubicBezTo>
                    <a:pt x="591" y="94"/>
                    <a:pt x="591" y="94"/>
                    <a:pt x="591" y="94"/>
                  </a:cubicBezTo>
                  <a:cubicBezTo>
                    <a:pt x="586" y="89"/>
                    <a:pt x="580" y="88"/>
                    <a:pt x="574" y="90"/>
                  </a:cubicBezTo>
                  <a:cubicBezTo>
                    <a:pt x="540" y="101"/>
                    <a:pt x="540" y="101"/>
                    <a:pt x="540" y="101"/>
                  </a:cubicBezTo>
                  <a:cubicBezTo>
                    <a:pt x="540" y="101"/>
                    <a:pt x="539" y="101"/>
                    <a:pt x="539" y="100"/>
                  </a:cubicBezTo>
                  <a:cubicBezTo>
                    <a:pt x="533" y="97"/>
                    <a:pt x="533" y="97"/>
                    <a:pt x="533" y="97"/>
                  </a:cubicBezTo>
                  <a:cubicBezTo>
                    <a:pt x="528" y="93"/>
                    <a:pt x="528" y="93"/>
                    <a:pt x="528" y="93"/>
                  </a:cubicBezTo>
                  <a:cubicBezTo>
                    <a:pt x="528" y="56"/>
                    <a:pt x="528" y="56"/>
                    <a:pt x="528" y="56"/>
                  </a:cubicBezTo>
                  <a:cubicBezTo>
                    <a:pt x="528" y="50"/>
                    <a:pt x="525" y="44"/>
                    <a:pt x="519" y="42"/>
                  </a:cubicBezTo>
                  <a:cubicBezTo>
                    <a:pt x="509" y="37"/>
                    <a:pt x="509" y="37"/>
                    <a:pt x="509" y="37"/>
                  </a:cubicBezTo>
                  <a:cubicBezTo>
                    <a:pt x="509" y="36"/>
                    <a:pt x="509" y="36"/>
                    <a:pt x="508" y="36"/>
                  </a:cubicBezTo>
                  <a:cubicBezTo>
                    <a:pt x="499" y="32"/>
                    <a:pt x="499" y="32"/>
                    <a:pt x="499" y="32"/>
                  </a:cubicBezTo>
                  <a:cubicBezTo>
                    <a:pt x="494" y="30"/>
                    <a:pt x="488" y="31"/>
                    <a:pt x="484" y="34"/>
                  </a:cubicBezTo>
                  <a:cubicBezTo>
                    <a:pt x="454" y="55"/>
                    <a:pt x="454" y="55"/>
                    <a:pt x="454" y="55"/>
                  </a:cubicBezTo>
                  <a:cubicBezTo>
                    <a:pt x="449" y="53"/>
                    <a:pt x="449" y="53"/>
                    <a:pt x="449" y="53"/>
                  </a:cubicBezTo>
                  <a:cubicBezTo>
                    <a:pt x="448" y="52"/>
                    <a:pt x="447" y="52"/>
                    <a:pt x="447" y="52"/>
                  </a:cubicBezTo>
                  <a:cubicBezTo>
                    <a:pt x="440" y="50"/>
                    <a:pt x="440" y="50"/>
                    <a:pt x="440" y="50"/>
                  </a:cubicBezTo>
                  <a:cubicBezTo>
                    <a:pt x="428" y="16"/>
                    <a:pt x="428" y="16"/>
                    <a:pt x="428" y="16"/>
                  </a:cubicBezTo>
                  <a:cubicBezTo>
                    <a:pt x="427" y="11"/>
                    <a:pt x="422" y="7"/>
                    <a:pt x="417" y="6"/>
                  </a:cubicBezTo>
                  <a:cubicBezTo>
                    <a:pt x="407" y="3"/>
                    <a:pt x="407" y="3"/>
                    <a:pt x="407" y="3"/>
                  </a:cubicBezTo>
                  <a:cubicBezTo>
                    <a:pt x="406" y="3"/>
                    <a:pt x="405" y="3"/>
                    <a:pt x="405" y="3"/>
                  </a:cubicBezTo>
                  <a:cubicBezTo>
                    <a:pt x="394" y="1"/>
                    <a:pt x="394" y="1"/>
                    <a:pt x="394" y="1"/>
                  </a:cubicBezTo>
                  <a:cubicBezTo>
                    <a:pt x="388" y="1"/>
                    <a:pt x="383" y="3"/>
                    <a:pt x="379" y="8"/>
                  </a:cubicBezTo>
                  <a:cubicBezTo>
                    <a:pt x="359" y="38"/>
                    <a:pt x="359" y="38"/>
                    <a:pt x="359" y="38"/>
                  </a:cubicBezTo>
                  <a:cubicBezTo>
                    <a:pt x="352" y="37"/>
                    <a:pt x="352" y="37"/>
                    <a:pt x="352" y="37"/>
                  </a:cubicBezTo>
                  <a:cubicBezTo>
                    <a:pt x="352" y="37"/>
                    <a:pt x="351" y="37"/>
                    <a:pt x="350" y="37"/>
                  </a:cubicBezTo>
                  <a:cubicBezTo>
                    <a:pt x="342" y="38"/>
                    <a:pt x="342" y="38"/>
                    <a:pt x="342" y="38"/>
                  </a:cubicBezTo>
                  <a:cubicBezTo>
                    <a:pt x="322" y="8"/>
                    <a:pt x="322" y="8"/>
                    <a:pt x="322" y="8"/>
                  </a:cubicBezTo>
                  <a:cubicBezTo>
                    <a:pt x="318" y="3"/>
                    <a:pt x="312" y="0"/>
                    <a:pt x="306" y="2"/>
                  </a:cubicBezTo>
                  <a:cubicBezTo>
                    <a:pt x="285" y="5"/>
                    <a:pt x="285" y="5"/>
                    <a:pt x="285" y="5"/>
                  </a:cubicBezTo>
                  <a:cubicBezTo>
                    <a:pt x="279" y="7"/>
                    <a:pt x="275" y="11"/>
                    <a:pt x="273" y="16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1" y="50"/>
                    <a:pt x="261" y="50"/>
                    <a:pt x="261" y="50"/>
                  </a:cubicBezTo>
                  <a:cubicBezTo>
                    <a:pt x="253" y="52"/>
                    <a:pt x="253" y="52"/>
                    <a:pt x="253" y="52"/>
                  </a:cubicBezTo>
                  <a:cubicBezTo>
                    <a:pt x="253" y="52"/>
                    <a:pt x="253" y="53"/>
                    <a:pt x="253" y="53"/>
                  </a:cubicBezTo>
                  <a:cubicBezTo>
                    <a:pt x="247" y="55"/>
                    <a:pt x="247" y="55"/>
                    <a:pt x="247" y="55"/>
                  </a:cubicBezTo>
                  <a:cubicBezTo>
                    <a:pt x="217" y="34"/>
                    <a:pt x="217" y="34"/>
                    <a:pt x="217" y="34"/>
                  </a:cubicBezTo>
                  <a:cubicBezTo>
                    <a:pt x="213" y="31"/>
                    <a:pt x="207" y="30"/>
                    <a:pt x="202" y="32"/>
                  </a:cubicBezTo>
                  <a:cubicBezTo>
                    <a:pt x="193" y="36"/>
                    <a:pt x="193" y="36"/>
                    <a:pt x="193" y="36"/>
                  </a:cubicBezTo>
                  <a:cubicBezTo>
                    <a:pt x="192" y="36"/>
                    <a:pt x="192" y="36"/>
                    <a:pt x="192" y="37"/>
                  </a:cubicBezTo>
                  <a:cubicBezTo>
                    <a:pt x="181" y="42"/>
                    <a:pt x="181" y="42"/>
                    <a:pt x="181" y="42"/>
                  </a:cubicBezTo>
                  <a:cubicBezTo>
                    <a:pt x="176" y="45"/>
                    <a:pt x="172" y="50"/>
                    <a:pt x="173" y="57"/>
                  </a:cubicBezTo>
                  <a:cubicBezTo>
                    <a:pt x="174" y="93"/>
                    <a:pt x="174" y="93"/>
                    <a:pt x="174" y="93"/>
                  </a:cubicBezTo>
                  <a:cubicBezTo>
                    <a:pt x="162" y="101"/>
                    <a:pt x="162" y="101"/>
                    <a:pt x="162" y="101"/>
                  </a:cubicBezTo>
                  <a:cubicBezTo>
                    <a:pt x="127" y="90"/>
                    <a:pt x="127" y="90"/>
                    <a:pt x="127" y="90"/>
                  </a:cubicBezTo>
                  <a:cubicBezTo>
                    <a:pt x="121" y="88"/>
                    <a:pt x="115" y="89"/>
                    <a:pt x="110" y="94"/>
                  </a:cubicBezTo>
                  <a:cubicBezTo>
                    <a:pt x="95" y="109"/>
                    <a:pt x="95" y="109"/>
                    <a:pt x="95" y="109"/>
                  </a:cubicBezTo>
                  <a:cubicBezTo>
                    <a:pt x="90" y="113"/>
                    <a:pt x="89" y="120"/>
                    <a:pt x="91" y="126"/>
                  </a:cubicBezTo>
                  <a:cubicBezTo>
                    <a:pt x="102" y="159"/>
                    <a:pt x="102" y="159"/>
                    <a:pt x="102" y="159"/>
                  </a:cubicBezTo>
                  <a:cubicBezTo>
                    <a:pt x="102" y="159"/>
                    <a:pt x="102" y="160"/>
                    <a:pt x="101" y="160"/>
                  </a:cubicBezTo>
                  <a:cubicBezTo>
                    <a:pt x="98" y="166"/>
                    <a:pt x="98" y="166"/>
                    <a:pt x="98" y="166"/>
                  </a:cubicBezTo>
                  <a:cubicBezTo>
                    <a:pt x="94" y="171"/>
                    <a:pt x="94" y="171"/>
                    <a:pt x="94" y="171"/>
                  </a:cubicBezTo>
                  <a:cubicBezTo>
                    <a:pt x="57" y="171"/>
                    <a:pt x="57" y="171"/>
                    <a:pt x="57" y="171"/>
                  </a:cubicBezTo>
                  <a:cubicBezTo>
                    <a:pt x="52" y="171"/>
                    <a:pt x="47" y="174"/>
                    <a:pt x="44" y="179"/>
                  </a:cubicBezTo>
                  <a:cubicBezTo>
                    <a:pt x="39" y="186"/>
                    <a:pt x="39" y="186"/>
                    <a:pt x="39" y="186"/>
                  </a:cubicBezTo>
                  <a:cubicBezTo>
                    <a:pt x="38" y="187"/>
                    <a:pt x="38" y="187"/>
                    <a:pt x="38" y="188"/>
                  </a:cubicBezTo>
                  <a:cubicBezTo>
                    <a:pt x="32" y="198"/>
                    <a:pt x="32" y="198"/>
                    <a:pt x="32" y="198"/>
                  </a:cubicBezTo>
                  <a:cubicBezTo>
                    <a:pt x="30" y="204"/>
                    <a:pt x="30" y="211"/>
                    <a:pt x="34" y="215"/>
                  </a:cubicBezTo>
                  <a:cubicBezTo>
                    <a:pt x="56" y="243"/>
                    <a:pt x="56" y="243"/>
                    <a:pt x="56" y="243"/>
                  </a:cubicBezTo>
                  <a:cubicBezTo>
                    <a:pt x="53" y="251"/>
                    <a:pt x="53" y="251"/>
                    <a:pt x="53" y="251"/>
                  </a:cubicBezTo>
                  <a:cubicBezTo>
                    <a:pt x="53" y="251"/>
                    <a:pt x="53" y="252"/>
                    <a:pt x="53" y="252"/>
                  </a:cubicBezTo>
                  <a:cubicBezTo>
                    <a:pt x="52" y="258"/>
                    <a:pt x="52" y="258"/>
                    <a:pt x="52" y="258"/>
                  </a:cubicBezTo>
                  <a:cubicBezTo>
                    <a:pt x="17" y="269"/>
                    <a:pt x="17" y="269"/>
                    <a:pt x="17" y="269"/>
                  </a:cubicBezTo>
                  <a:cubicBezTo>
                    <a:pt x="11" y="270"/>
                    <a:pt x="7" y="275"/>
                    <a:pt x="5" y="280"/>
                  </a:cubicBezTo>
                  <a:cubicBezTo>
                    <a:pt x="3" y="291"/>
                    <a:pt x="3" y="291"/>
                    <a:pt x="3" y="291"/>
                  </a:cubicBezTo>
                  <a:cubicBezTo>
                    <a:pt x="3" y="291"/>
                    <a:pt x="3" y="292"/>
                    <a:pt x="2" y="293"/>
                  </a:cubicBezTo>
                  <a:cubicBezTo>
                    <a:pt x="1" y="304"/>
                    <a:pt x="1" y="304"/>
                    <a:pt x="1" y="304"/>
                  </a:cubicBezTo>
                  <a:cubicBezTo>
                    <a:pt x="1" y="310"/>
                    <a:pt x="3" y="316"/>
                    <a:pt x="9" y="320"/>
                  </a:cubicBezTo>
                  <a:cubicBezTo>
                    <a:pt x="39" y="339"/>
                    <a:pt x="39" y="339"/>
                    <a:pt x="39" y="339"/>
                  </a:cubicBezTo>
                  <a:cubicBezTo>
                    <a:pt x="39" y="345"/>
                    <a:pt x="39" y="345"/>
                    <a:pt x="39" y="345"/>
                  </a:cubicBezTo>
                  <a:cubicBezTo>
                    <a:pt x="38" y="346"/>
                    <a:pt x="38" y="346"/>
                    <a:pt x="39" y="347"/>
                  </a:cubicBezTo>
                  <a:cubicBezTo>
                    <a:pt x="39" y="353"/>
                    <a:pt x="39" y="353"/>
                    <a:pt x="39" y="353"/>
                  </a:cubicBezTo>
                  <a:cubicBezTo>
                    <a:pt x="8" y="374"/>
                    <a:pt x="8" y="374"/>
                    <a:pt x="8" y="374"/>
                  </a:cubicBezTo>
                  <a:cubicBezTo>
                    <a:pt x="3" y="377"/>
                    <a:pt x="0" y="384"/>
                    <a:pt x="1" y="390"/>
                  </a:cubicBezTo>
                  <a:cubicBezTo>
                    <a:pt x="5" y="411"/>
                    <a:pt x="5" y="411"/>
                    <a:pt x="5" y="411"/>
                  </a:cubicBezTo>
                  <a:cubicBezTo>
                    <a:pt x="6" y="417"/>
                    <a:pt x="10" y="421"/>
                    <a:pt x="16" y="423"/>
                  </a:cubicBezTo>
                  <a:cubicBezTo>
                    <a:pt x="52" y="435"/>
                    <a:pt x="52" y="435"/>
                    <a:pt x="52" y="435"/>
                  </a:cubicBezTo>
                  <a:cubicBezTo>
                    <a:pt x="53" y="440"/>
                    <a:pt x="53" y="440"/>
                    <a:pt x="53" y="440"/>
                  </a:cubicBezTo>
                  <a:cubicBezTo>
                    <a:pt x="53" y="441"/>
                    <a:pt x="53" y="442"/>
                    <a:pt x="54" y="443"/>
                  </a:cubicBezTo>
                  <a:cubicBezTo>
                    <a:pt x="56" y="449"/>
                    <a:pt x="56" y="449"/>
                    <a:pt x="56" y="449"/>
                  </a:cubicBezTo>
                  <a:cubicBezTo>
                    <a:pt x="34" y="478"/>
                    <a:pt x="34" y="478"/>
                    <a:pt x="34" y="478"/>
                  </a:cubicBezTo>
                  <a:cubicBezTo>
                    <a:pt x="30" y="483"/>
                    <a:pt x="30" y="490"/>
                    <a:pt x="33" y="496"/>
                  </a:cubicBezTo>
                  <a:cubicBezTo>
                    <a:pt x="43" y="514"/>
                    <a:pt x="43" y="514"/>
                    <a:pt x="43" y="514"/>
                  </a:cubicBezTo>
                  <a:cubicBezTo>
                    <a:pt x="46" y="519"/>
                    <a:pt x="52" y="522"/>
                    <a:pt x="58" y="522"/>
                  </a:cubicBezTo>
                  <a:cubicBezTo>
                    <a:pt x="94" y="521"/>
                    <a:pt x="94" y="521"/>
                    <a:pt x="94" y="521"/>
                  </a:cubicBezTo>
                  <a:cubicBezTo>
                    <a:pt x="98" y="527"/>
                    <a:pt x="98" y="527"/>
                    <a:pt x="98" y="527"/>
                  </a:cubicBezTo>
                  <a:cubicBezTo>
                    <a:pt x="98" y="528"/>
                    <a:pt x="98" y="528"/>
                    <a:pt x="99" y="529"/>
                  </a:cubicBezTo>
                  <a:cubicBezTo>
                    <a:pt x="102" y="533"/>
                    <a:pt x="102" y="533"/>
                    <a:pt x="102" y="533"/>
                  </a:cubicBezTo>
                  <a:cubicBezTo>
                    <a:pt x="91" y="568"/>
                    <a:pt x="91" y="568"/>
                    <a:pt x="91" y="568"/>
                  </a:cubicBezTo>
                  <a:cubicBezTo>
                    <a:pt x="89" y="573"/>
                    <a:pt x="90" y="580"/>
                    <a:pt x="95" y="584"/>
                  </a:cubicBezTo>
                  <a:cubicBezTo>
                    <a:pt x="110" y="600"/>
                    <a:pt x="110" y="600"/>
                    <a:pt x="110" y="600"/>
                  </a:cubicBezTo>
                  <a:cubicBezTo>
                    <a:pt x="115" y="604"/>
                    <a:pt x="121" y="605"/>
                    <a:pt x="127" y="603"/>
                  </a:cubicBezTo>
                  <a:cubicBezTo>
                    <a:pt x="162" y="592"/>
                    <a:pt x="162" y="592"/>
                    <a:pt x="162" y="592"/>
                  </a:cubicBezTo>
                  <a:cubicBezTo>
                    <a:pt x="167" y="596"/>
                    <a:pt x="167" y="596"/>
                    <a:pt x="167" y="596"/>
                  </a:cubicBezTo>
                  <a:cubicBezTo>
                    <a:pt x="167" y="596"/>
                    <a:pt x="168" y="596"/>
                    <a:pt x="168" y="596"/>
                  </a:cubicBezTo>
                  <a:cubicBezTo>
                    <a:pt x="174" y="600"/>
                    <a:pt x="174" y="600"/>
                    <a:pt x="174" y="600"/>
                  </a:cubicBezTo>
                  <a:cubicBezTo>
                    <a:pt x="173" y="635"/>
                    <a:pt x="173" y="635"/>
                    <a:pt x="173" y="635"/>
                  </a:cubicBezTo>
                  <a:cubicBezTo>
                    <a:pt x="172" y="641"/>
                    <a:pt x="175" y="647"/>
                    <a:pt x="180" y="650"/>
                  </a:cubicBezTo>
                  <a:cubicBezTo>
                    <a:pt x="190" y="656"/>
                    <a:pt x="190" y="656"/>
                    <a:pt x="190" y="656"/>
                  </a:cubicBezTo>
                  <a:cubicBezTo>
                    <a:pt x="191" y="656"/>
                    <a:pt x="192" y="657"/>
                    <a:pt x="193" y="657"/>
                  </a:cubicBezTo>
                  <a:cubicBezTo>
                    <a:pt x="202" y="661"/>
                    <a:pt x="202" y="661"/>
                    <a:pt x="202" y="661"/>
                  </a:cubicBezTo>
                  <a:cubicBezTo>
                    <a:pt x="207" y="663"/>
                    <a:pt x="213" y="663"/>
                    <a:pt x="218" y="659"/>
                  </a:cubicBezTo>
                  <a:cubicBezTo>
                    <a:pt x="245" y="638"/>
                    <a:pt x="245" y="638"/>
                    <a:pt x="245" y="638"/>
                  </a:cubicBezTo>
                  <a:cubicBezTo>
                    <a:pt x="246" y="639"/>
                    <a:pt x="247" y="639"/>
                    <a:pt x="248" y="639"/>
                  </a:cubicBezTo>
                  <a:cubicBezTo>
                    <a:pt x="254" y="640"/>
                    <a:pt x="254" y="640"/>
                    <a:pt x="254" y="640"/>
                  </a:cubicBezTo>
                  <a:cubicBezTo>
                    <a:pt x="261" y="642"/>
                    <a:pt x="261" y="642"/>
                    <a:pt x="261" y="642"/>
                  </a:cubicBezTo>
                  <a:cubicBezTo>
                    <a:pt x="273" y="677"/>
                    <a:pt x="273" y="677"/>
                    <a:pt x="273" y="677"/>
                  </a:cubicBezTo>
                  <a:cubicBezTo>
                    <a:pt x="275" y="683"/>
                    <a:pt x="280" y="687"/>
                    <a:pt x="286" y="688"/>
                  </a:cubicBezTo>
                  <a:cubicBezTo>
                    <a:pt x="307" y="691"/>
                    <a:pt x="307" y="691"/>
                    <a:pt x="307" y="691"/>
                  </a:cubicBezTo>
                  <a:cubicBezTo>
                    <a:pt x="312" y="691"/>
                    <a:pt x="318" y="689"/>
                    <a:pt x="322" y="684"/>
                  </a:cubicBezTo>
                  <a:cubicBezTo>
                    <a:pt x="343" y="655"/>
                    <a:pt x="343" y="655"/>
                    <a:pt x="343" y="655"/>
                  </a:cubicBezTo>
                  <a:cubicBezTo>
                    <a:pt x="358" y="655"/>
                    <a:pt x="358" y="655"/>
                    <a:pt x="358" y="655"/>
                  </a:cubicBezTo>
                  <a:cubicBezTo>
                    <a:pt x="379" y="684"/>
                    <a:pt x="379" y="684"/>
                    <a:pt x="379" y="684"/>
                  </a:cubicBezTo>
                  <a:cubicBezTo>
                    <a:pt x="382" y="688"/>
                    <a:pt x="387" y="691"/>
                    <a:pt x="392" y="691"/>
                  </a:cubicBezTo>
                  <a:cubicBezTo>
                    <a:pt x="393" y="691"/>
                    <a:pt x="394" y="691"/>
                    <a:pt x="394" y="691"/>
                  </a:cubicBezTo>
                  <a:cubicBezTo>
                    <a:pt x="415" y="688"/>
                    <a:pt x="415" y="688"/>
                    <a:pt x="415" y="688"/>
                  </a:cubicBezTo>
                  <a:cubicBezTo>
                    <a:pt x="421" y="687"/>
                    <a:pt x="426" y="683"/>
                    <a:pt x="428" y="677"/>
                  </a:cubicBezTo>
                  <a:cubicBezTo>
                    <a:pt x="440" y="642"/>
                    <a:pt x="440" y="642"/>
                    <a:pt x="440" y="642"/>
                  </a:cubicBezTo>
                  <a:cubicBezTo>
                    <a:pt x="448" y="640"/>
                    <a:pt x="448" y="640"/>
                    <a:pt x="448" y="640"/>
                  </a:cubicBezTo>
                  <a:cubicBezTo>
                    <a:pt x="448" y="640"/>
                    <a:pt x="448" y="639"/>
                    <a:pt x="448" y="639"/>
                  </a:cubicBezTo>
                  <a:cubicBezTo>
                    <a:pt x="454" y="637"/>
                    <a:pt x="454" y="637"/>
                    <a:pt x="454" y="637"/>
                  </a:cubicBezTo>
                  <a:cubicBezTo>
                    <a:pt x="483" y="659"/>
                    <a:pt x="483" y="659"/>
                    <a:pt x="483" y="659"/>
                  </a:cubicBezTo>
                  <a:cubicBezTo>
                    <a:pt x="488" y="663"/>
                    <a:pt x="494" y="663"/>
                    <a:pt x="499" y="661"/>
                  </a:cubicBezTo>
                  <a:cubicBezTo>
                    <a:pt x="508" y="657"/>
                    <a:pt x="508" y="657"/>
                    <a:pt x="508" y="657"/>
                  </a:cubicBezTo>
                  <a:cubicBezTo>
                    <a:pt x="509" y="657"/>
                    <a:pt x="510" y="656"/>
                    <a:pt x="510" y="656"/>
                  </a:cubicBezTo>
                  <a:cubicBezTo>
                    <a:pt x="521" y="650"/>
                    <a:pt x="521" y="650"/>
                    <a:pt x="521" y="650"/>
                  </a:cubicBezTo>
                  <a:cubicBezTo>
                    <a:pt x="525" y="647"/>
                    <a:pt x="528" y="641"/>
                    <a:pt x="528" y="636"/>
                  </a:cubicBezTo>
                  <a:cubicBezTo>
                    <a:pt x="528" y="600"/>
                    <a:pt x="528" y="600"/>
                    <a:pt x="528" y="600"/>
                  </a:cubicBezTo>
                  <a:cubicBezTo>
                    <a:pt x="533" y="596"/>
                    <a:pt x="533" y="596"/>
                    <a:pt x="533" y="596"/>
                  </a:cubicBezTo>
                  <a:cubicBezTo>
                    <a:pt x="539" y="592"/>
                    <a:pt x="539" y="592"/>
                    <a:pt x="539" y="592"/>
                  </a:cubicBezTo>
                  <a:cubicBezTo>
                    <a:pt x="574" y="603"/>
                    <a:pt x="574" y="603"/>
                    <a:pt x="574" y="603"/>
                  </a:cubicBezTo>
                  <a:cubicBezTo>
                    <a:pt x="580" y="605"/>
                    <a:pt x="586" y="604"/>
                    <a:pt x="591" y="600"/>
                  </a:cubicBezTo>
                  <a:cubicBezTo>
                    <a:pt x="606" y="584"/>
                    <a:pt x="606" y="584"/>
                    <a:pt x="606" y="584"/>
                  </a:cubicBezTo>
                  <a:cubicBezTo>
                    <a:pt x="610" y="580"/>
                    <a:pt x="612" y="573"/>
                    <a:pt x="610" y="568"/>
                  </a:cubicBezTo>
                  <a:cubicBezTo>
                    <a:pt x="599" y="533"/>
                    <a:pt x="599" y="533"/>
                    <a:pt x="599" y="533"/>
                  </a:cubicBezTo>
                  <a:cubicBezTo>
                    <a:pt x="602" y="528"/>
                    <a:pt x="602" y="528"/>
                    <a:pt x="602" y="528"/>
                  </a:cubicBezTo>
                  <a:cubicBezTo>
                    <a:pt x="603" y="528"/>
                    <a:pt x="603" y="528"/>
                    <a:pt x="603" y="527"/>
                  </a:cubicBezTo>
                  <a:cubicBezTo>
                    <a:pt x="607" y="521"/>
                    <a:pt x="607" y="521"/>
                    <a:pt x="607" y="521"/>
                  </a:cubicBezTo>
                  <a:cubicBezTo>
                    <a:pt x="643" y="522"/>
                    <a:pt x="643" y="522"/>
                    <a:pt x="643" y="522"/>
                  </a:cubicBezTo>
                  <a:cubicBezTo>
                    <a:pt x="649" y="522"/>
                    <a:pt x="655" y="519"/>
                    <a:pt x="658" y="514"/>
                  </a:cubicBezTo>
                  <a:cubicBezTo>
                    <a:pt x="668" y="496"/>
                    <a:pt x="668" y="496"/>
                    <a:pt x="668" y="496"/>
                  </a:cubicBezTo>
                  <a:cubicBezTo>
                    <a:pt x="671" y="490"/>
                    <a:pt x="671" y="483"/>
                    <a:pt x="667" y="478"/>
                  </a:cubicBezTo>
                  <a:cubicBezTo>
                    <a:pt x="645" y="449"/>
                    <a:pt x="645" y="449"/>
                    <a:pt x="645" y="449"/>
                  </a:cubicBezTo>
                  <a:cubicBezTo>
                    <a:pt x="647" y="443"/>
                    <a:pt x="647" y="443"/>
                    <a:pt x="647" y="443"/>
                  </a:cubicBezTo>
                  <a:cubicBezTo>
                    <a:pt x="647" y="443"/>
                    <a:pt x="648" y="442"/>
                    <a:pt x="648" y="441"/>
                  </a:cubicBezTo>
                  <a:cubicBezTo>
                    <a:pt x="649" y="435"/>
                    <a:pt x="649" y="435"/>
                    <a:pt x="649" y="435"/>
                  </a:cubicBezTo>
                  <a:cubicBezTo>
                    <a:pt x="685" y="423"/>
                    <a:pt x="685" y="423"/>
                    <a:pt x="685" y="423"/>
                  </a:cubicBezTo>
                  <a:cubicBezTo>
                    <a:pt x="691" y="421"/>
                    <a:pt x="695" y="416"/>
                    <a:pt x="696" y="410"/>
                  </a:cubicBezTo>
                  <a:cubicBezTo>
                    <a:pt x="698" y="389"/>
                    <a:pt x="698" y="389"/>
                    <a:pt x="698" y="389"/>
                  </a:cubicBezTo>
                  <a:cubicBezTo>
                    <a:pt x="699" y="383"/>
                    <a:pt x="697" y="377"/>
                    <a:pt x="692" y="37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CH" sz="1600" dirty="0"/>
            </a:p>
          </p:txBody>
        </p:sp>
        <p:sp>
          <p:nvSpPr>
            <p:cNvPr id="9" name="Oval 15">
              <a:extLst>
                <a:ext uri="{FF2B5EF4-FFF2-40B4-BE49-F238E27FC236}">
                  <a16:creationId xmlns:a16="http://schemas.microsoft.com/office/drawing/2014/main" id="{B52B889D-BEF9-4622-8B3D-B838F0216891}"/>
                </a:ext>
              </a:extLst>
            </p:cNvPr>
            <p:cNvSpPr/>
            <p:nvPr/>
          </p:nvSpPr>
          <p:spPr>
            <a:xfrm>
              <a:off x="11696315" y="6362315"/>
              <a:ext cx="359032" cy="35903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</p:grpSp>
    </p:spTree>
    <p:extLst>
      <p:ext uri="{BB962C8B-B14F-4D97-AF65-F5344CB8AC3E}">
        <p14:creationId xmlns:p14="http://schemas.microsoft.com/office/powerpoint/2010/main" val="8298682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5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fr-CH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CH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A13FF3-A3B4-402D-91B1-C176C247EB92}" type="datetimeFigureOut">
              <a:rPr lang="fr-CH" smtClean="0"/>
              <a:t>05.04.2019</a:t>
            </a:fld>
            <a:endParaRPr lang="fr-CH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107053-0274-46BF-A48C-B751F6C03B80}" type="slidenum">
              <a:rPr lang="fr-CH" smtClean="0"/>
              <a:t>‹N°›</a:t>
            </a:fld>
            <a:endParaRPr lang="fr-CH"/>
          </a:p>
        </p:txBody>
      </p:sp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10" name="Group 12">
            <a:extLst>
              <a:ext uri="{FF2B5EF4-FFF2-40B4-BE49-F238E27FC236}">
                <a16:creationId xmlns:a16="http://schemas.microsoft.com/office/drawing/2014/main" id="{A38AABD7-C10C-4C4F-82F3-ABC2F1DF586A}"/>
              </a:ext>
            </a:extLst>
          </p:cNvPr>
          <p:cNvGrpSpPr/>
          <p:nvPr userDrawn="1"/>
        </p:nvGrpSpPr>
        <p:grpSpPr>
          <a:xfrm>
            <a:off x="11588238" y="6254238"/>
            <a:ext cx="575187" cy="575187"/>
            <a:chOff x="11588238" y="6254238"/>
            <a:chExt cx="575187" cy="575187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31DC6025-5BDB-461A-9BEF-A21ADA5C7D82}"/>
                </a:ext>
              </a:extLst>
            </p:cNvPr>
            <p:cNvSpPr>
              <a:spLocks/>
            </p:cNvSpPr>
            <p:nvPr>
              <p:custDataLst>
                <p:tags r:id="rId1"/>
              </p:custDataLst>
            </p:nvPr>
          </p:nvSpPr>
          <p:spPr bwMode="gray">
            <a:xfrm>
              <a:off x="11588238" y="6254238"/>
              <a:ext cx="575187" cy="575187"/>
            </a:xfrm>
            <a:custGeom>
              <a:avLst/>
              <a:gdLst>
                <a:gd name="T0" fmla="*/ 662 w 699"/>
                <a:gd name="T1" fmla="*/ 347 h 691"/>
                <a:gd name="T2" fmla="*/ 691 w 699"/>
                <a:gd name="T3" fmla="*/ 320 h 691"/>
                <a:gd name="T4" fmla="*/ 684 w 699"/>
                <a:gd name="T5" fmla="*/ 269 h 691"/>
                <a:gd name="T6" fmla="*/ 645 w 699"/>
                <a:gd name="T7" fmla="*/ 243 h 691"/>
                <a:gd name="T8" fmla="*/ 663 w 699"/>
                <a:gd name="T9" fmla="*/ 188 h 691"/>
                <a:gd name="T10" fmla="*/ 644 w 699"/>
                <a:gd name="T11" fmla="*/ 171 h 691"/>
                <a:gd name="T12" fmla="*/ 602 w 699"/>
                <a:gd name="T13" fmla="*/ 165 h 691"/>
                <a:gd name="T14" fmla="*/ 606 w 699"/>
                <a:gd name="T15" fmla="*/ 109 h 691"/>
                <a:gd name="T16" fmla="*/ 540 w 699"/>
                <a:gd name="T17" fmla="*/ 101 h 691"/>
                <a:gd name="T18" fmla="*/ 528 w 699"/>
                <a:gd name="T19" fmla="*/ 93 h 691"/>
                <a:gd name="T20" fmla="*/ 509 w 699"/>
                <a:gd name="T21" fmla="*/ 37 h 691"/>
                <a:gd name="T22" fmla="*/ 484 w 699"/>
                <a:gd name="T23" fmla="*/ 34 h 691"/>
                <a:gd name="T24" fmla="*/ 447 w 699"/>
                <a:gd name="T25" fmla="*/ 52 h 691"/>
                <a:gd name="T26" fmla="*/ 417 w 699"/>
                <a:gd name="T27" fmla="*/ 6 h 691"/>
                <a:gd name="T28" fmla="*/ 394 w 699"/>
                <a:gd name="T29" fmla="*/ 1 h 691"/>
                <a:gd name="T30" fmla="*/ 352 w 699"/>
                <a:gd name="T31" fmla="*/ 37 h 691"/>
                <a:gd name="T32" fmla="*/ 322 w 699"/>
                <a:gd name="T33" fmla="*/ 8 h 691"/>
                <a:gd name="T34" fmla="*/ 273 w 699"/>
                <a:gd name="T35" fmla="*/ 16 h 691"/>
                <a:gd name="T36" fmla="*/ 253 w 699"/>
                <a:gd name="T37" fmla="*/ 52 h 691"/>
                <a:gd name="T38" fmla="*/ 217 w 699"/>
                <a:gd name="T39" fmla="*/ 34 h 691"/>
                <a:gd name="T40" fmla="*/ 192 w 699"/>
                <a:gd name="T41" fmla="*/ 37 h 691"/>
                <a:gd name="T42" fmla="*/ 174 w 699"/>
                <a:gd name="T43" fmla="*/ 93 h 691"/>
                <a:gd name="T44" fmla="*/ 110 w 699"/>
                <a:gd name="T45" fmla="*/ 94 h 691"/>
                <a:gd name="T46" fmla="*/ 102 w 699"/>
                <a:gd name="T47" fmla="*/ 159 h 691"/>
                <a:gd name="T48" fmla="*/ 94 w 699"/>
                <a:gd name="T49" fmla="*/ 171 h 691"/>
                <a:gd name="T50" fmla="*/ 39 w 699"/>
                <a:gd name="T51" fmla="*/ 186 h 691"/>
                <a:gd name="T52" fmla="*/ 34 w 699"/>
                <a:gd name="T53" fmla="*/ 215 h 691"/>
                <a:gd name="T54" fmla="*/ 53 w 699"/>
                <a:gd name="T55" fmla="*/ 252 h 691"/>
                <a:gd name="T56" fmla="*/ 5 w 699"/>
                <a:gd name="T57" fmla="*/ 280 h 691"/>
                <a:gd name="T58" fmla="*/ 1 w 699"/>
                <a:gd name="T59" fmla="*/ 304 h 691"/>
                <a:gd name="T60" fmla="*/ 39 w 699"/>
                <a:gd name="T61" fmla="*/ 345 h 691"/>
                <a:gd name="T62" fmla="*/ 8 w 699"/>
                <a:gd name="T63" fmla="*/ 374 h 691"/>
                <a:gd name="T64" fmla="*/ 16 w 699"/>
                <a:gd name="T65" fmla="*/ 423 h 691"/>
                <a:gd name="T66" fmla="*/ 54 w 699"/>
                <a:gd name="T67" fmla="*/ 443 h 691"/>
                <a:gd name="T68" fmla="*/ 33 w 699"/>
                <a:gd name="T69" fmla="*/ 496 h 691"/>
                <a:gd name="T70" fmla="*/ 94 w 699"/>
                <a:gd name="T71" fmla="*/ 521 h 691"/>
                <a:gd name="T72" fmla="*/ 102 w 699"/>
                <a:gd name="T73" fmla="*/ 533 h 691"/>
                <a:gd name="T74" fmla="*/ 110 w 699"/>
                <a:gd name="T75" fmla="*/ 600 h 691"/>
                <a:gd name="T76" fmla="*/ 167 w 699"/>
                <a:gd name="T77" fmla="*/ 596 h 691"/>
                <a:gd name="T78" fmla="*/ 173 w 699"/>
                <a:gd name="T79" fmla="*/ 635 h 691"/>
                <a:gd name="T80" fmla="*/ 193 w 699"/>
                <a:gd name="T81" fmla="*/ 657 h 691"/>
                <a:gd name="T82" fmla="*/ 245 w 699"/>
                <a:gd name="T83" fmla="*/ 638 h 691"/>
                <a:gd name="T84" fmla="*/ 261 w 699"/>
                <a:gd name="T85" fmla="*/ 642 h 691"/>
                <a:gd name="T86" fmla="*/ 307 w 699"/>
                <a:gd name="T87" fmla="*/ 691 h 691"/>
                <a:gd name="T88" fmla="*/ 358 w 699"/>
                <a:gd name="T89" fmla="*/ 655 h 691"/>
                <a:gd name="T90" fmla="*/ 394 w 699"/>
                <a:gd name="T91" fmla="*/ 691 h 691"/>
                <a:gd name="T92" fmla="*/ 440 w 699"/>
                <a:gd name="T93" fmla="*/ 642 h 691"/>
                <a:gd name="T94" fmla="*/ 454 w 699"/>
                <a:gd name="T95" fmla="*/ 637 h 691"/>
                <a:gd name="T96" fmla="*/ 508 w 699"/>
                <a:gd name="T97" fmla="*/ 657 h 691"/>
                <a:gd name="T98" fmla="*/ 528 w 699"/>
                <a:gd name="T99" fmla="*/ 636 h 691"/>
                <a:gd name="T100" fmla="*/ 539 w 699"/>
                <a:gd name="T101" fmla="*/ 592 h 691"/>
                <a:gd name="T102" fmla="*/ 606 w 699"/>
                <a:gd name="T103" fmla="*/ 584 h 691"/>
                <a:gd name="T104" fmla="*/ 602 w 699"/>
                <a:gd name="T105" fmla="*/ 528 h 691"/>
                <a:gd name="T106" fmla="*/ 643 w 699"/>
                <a:gd name="T107" fmla="*/ 522 h 691"/>
                <a:gd name="T108" fmla="*/ 667 w 699"/>
                <a:gd name="T109" fmla="*/ 478 h 691"/>
                <a:gd name="T110" fmla="*/ 648 w 699"/>
                <a:gd name="T111" fmla="*/ 441 h 691"/>
                <a:gd name="T112" fmla="*/ 696 w 699"/>
                <a:gd name="T113" fmla="*/ 410 h 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99" h="691">
                  <a:moveTo>
                    <a:pt x="692" y="374"/>
                  </a:moveTo>
                  <a:cubicBezTo>
                    <a:pt x="662" y="354"/>
                    <a:pt x="662" y="354"/>
                    <a:pt x="662" y="354"/>
                  </a:cubicBezTo>
                  <a:cubicBezTo>
                    <a:pt x="662" y="347"/>
                    <a:pt x="662" y="347"/>
                    <a:pt x="662" y="347"/>
                  </a:cubicBezTo>
                  <a:cubicBezTo>
                    <a:pt x="662" y="346"/>
                    <a:pt x="662" y="346"/>
                    <a:pt x="662" y="345"/>
                  </a:cubicBezTo>
                  <a:cubicBezTo>
                    <a:pt x="662" y="339"/>
                    <a:pt x="662" y="339"/>
                    <a:pt x="662" y="339"/>
                  </a:cubicBezTo>
                  <a:cubicBezTo>
                    <a:pt x="691" y="320"/>
                    <a:pt x="691" y="320"/>
                    <a:pt x="691" y="320"/>
                  </a:cubicBezTo>
                  <a:cubicBezTo>
                    <a:pt x="696" y="316"/>
                    <a:pt x="699" y="310"/>
                    <a:pt x="698" y="304"/>
                  </a:cubicBezTo>
                  <a:cubicBezTo>
                    <a:pt x="696" y="282"/>
                    <a:pt x="696" y="282"/>
                    <a:pt x="696" y="282"/>
                  </a:cubicBezTo>
                  <a:cubicBezTo>
                    <a:pt x="695" y="276"/>
                    <a:pt x="691" y="271"/>
                    <a:pt x="684" y="269"/>
                  </a:cubicBezTo>
                  <a:cubicBezTo>
                    <a:pt x="650" y="259"/>
                    <a:pt x="650" y="259"/>
                    <a:pt x="650" y="259"/>
                  </a:cubicBezTo>
                  <a:cubicBezTo>
                    <a:pt x="650" y="259"/>
                    <a:pt x="650" y="259"/>
                    <a:pt x="650" y="258"/>
                  </a:cubicBezTo>
                  <a:cubicBezTo>
                    <a:pt x="645" y="243"/>
                    <a:pt x="645" y="243"/>
                    <a:pt x="645" y="243"/>
                  </a:cubicBezTo>
                  <a:cubicBezTo>
                    <a:pt x="667" y="215"/>
                    <a:pt x="667" y="215"/>
                    <a:pt x="667" y="215"/>
                  </a:cubicBezTo>
                  <a:cubicBezTo>
                    <a:pt x="671" y="211"/>
                    <a:pt x="671" y="204"/>
                    <a:pt x="668" y="198"/>
                  </a:cubicBezTo>
                  <a:cubicBezTo>
                    <a:pt x="663" y="188"/>
                    <a:pt x="663" y="188"/>
                    <a:pt x="663" y="188"/>
                  </a:cubicBezTo>
                  <a:cubicBezTo>
                    <a:pt x="663" y="187"/>
                    <a:pt x="663" y="187"/>
                    <a:pt x="662" y="186"/>
                  </a:cubicBezTo>
                  <a:cubicBezTo>
                    <a:pt x="657" y="179"/>
                    <a:pt x="657" y="179"/>
                    <a:pt x="657" y="179"/>
                  </a:cubicBezTo>
                  <a:cubicBezTo>
                    <a:pt x="654" y="174"/>
                    <a:pt x="649" y="171"/>
                    <a:pt x="644" y="171"/>
                  </a:cubicBezTo>
                  <a:cubicBezTo>
                    <a:pt x="607" y="171"/>
                    <a:pt x="607" y="171"/>
                    <a:pt x="607" y="171"/>
                  </a:cubicBezTo>
                  <a:cubicBezTo>
                    <a:pt x="603" y="165"/>
                    <a:pt x="603" y="165"/>
                    <a:pt x="603" y="165"/>
                  </a:cubicBezTo>
                  <a:cubicBezTo>
                    <a:pt x="603" y="165"/>
                    <a:pt x="602" y="165"/>
                    <a:pt x="602" y="165"/>
                  </a:cubicBezTo>
                  <a:cubicBezTo>
                    <a:pt x="599" y="160"/>
                    <a:pt x="599" y="160"/>
                    <a:pt x="599" y="160"/>
                  </a:cubicBezTo>
                  <a:cubicBezTo>
                    <a:pt x="610" y="126"/>
                    <a:pt x="610" y="126"/>
                    <a:pt x="610" y="126"/>
                  </a:cubicBezTo>
                  <a:cubicBezTo>
                    <a:pt x="612" y="120"/>
                    <a:pt x="610" y="113"/>
                    <a:pt x="606" y="109"/>
                  </a:cubicBezTo>
                  <a:cubicBezTo>
                    <a:pt x="591" y="94"/>
                    <a:pt x="591" y="94"/>
                    <a:pt x="591" y="94"/>
                  </a:cubicBezTo>
                  <a:cubicBezTo>
                    <a:pt x="586" y="89"/>
                    <a:pt x="580" y="88"/>
                    <a:pt x="574" y="90"/>
                  </a:cubicBezTo>
                  <a:cubicBezTo>
                    <a:pt x="540" y="101"/>
                    <a:pt x="540" y="101"/>
                    <a:pt x="540" y="101"/>
                  </a:cubicBezTo>
                  <a:cubicBezTo>
                    <a:pt x="540" y="101"/>
                    <a:pt x="539" y="101"/>
                    <a:pt x="539" y="100"/>
                  </a:cubicBezTo>
                  <a:cubicBezTo>
                    <a:pt x="533" y="97"/>
                    <a:pt x="533" y="97"/>
                    <a:pt x="533" y="97"/>
                  </a:cubicBezTo>
                  <a:cubicBezTo>
                    <a:pt x="528" y="93"/>
                    <a:pt x="528" y="93"/>
                    <a:pt x="528" y="93"/>
                  </a:cubicBezTo>
                  <a:cubicBezTo>
                    <a:pt x="528" y="56"/>
                    <a:pt x="528" y="56"/>
                    <a:pt x="528" y="56"/>
                  </a:cubicBezTo>
                  <a:cubicBezTo>
                    <a:pt x="528" y="50"/>
                    <a:pt x="525" y="44"/>
                    <a:pt x="519" y="42"/>
                  </a:cubicBezTo>
                  <a:cubicBezTo>
                    <a:pt x="509" y="37"/>
                    <a:pt x="509" y="37"/>
                    <a:pt x="509" y="37"/>
                  </a:cubicBezTo>
                  <a:cubicBezTo>
                    <a:pt x="509" y="36"/>
                    <a:pt x="509" y="36"/>
                    <a:pt x="508" y="36"/>
                  </a:cubicBezTo>
                  <a:cubicBezTo>
                    <a:pt x="499" y="32"/>
                    <a:pt x="499" y="32"/>
                    <a:pt x="499" y="32"/>
                  </a:cubicBezTo>
                  <a:cubicBezTo>
                    <a:pt x="494" y="30"/>
                    <a:pt x="488" y="31"/>
                    <a:pt x="484" y="34"/>
                  </a:cubicBezTo>
                  <a:cubicBezTo>
                    <a:pt x="454" y="55"/>
                    <a:pt x="454" y="55"/>
                    <a:pt x="454" y="55"/>
                  </a:cubicBezTo>
                  <a:cubicBezTo>
                    <a:pt x="449" y="53"/>
                    <a:pt x="449" y="53"/>
                    <a:pt x="449" y="53"/>
                  </a:cubicBezTo>
                  <a:cubicBezTo>
                    <a:pt x="448" y="52"/>
                    <a:pt x="447" y="52"/>
                    <a:pt x="447" y="52"/>
                  </a:cubicBezTo>
                  <a:cubicBezTo>
                    <a:pt x="440" y="50"/>
                    <a:pt x="440" y="50"/>
                    <a:pt x="440" y="50"/>
                  </a:cubicBezTo>
                  <a:cubicBezTo>
                    <a:pt x="428" y="16"/>
                    <a:pt x="428" y="16"/>
                    <a:pt x="428" y="16"/>
                  </a:cubicBezTo>
                  <a:cubicBezTo>
                    <a:pt x="427" y="11"/>
                    <a:pt x="422" y="7"/>
                    <a:pt x="417" y="6"/>
                  </a:cubicBezTo>
                  <a:cubicBezTo>
                    <a:pt x="407" y="3"/>
                    <a:pt x="407" y="3"/>
                    <a:pt x="407" y="3"/>
                  </a:cubicBezTo>
                  <a:cubicBezTo>
                    <a:pt x="406" y="3"/>
                    <a:pt x="405" y="3"/>
                    <a:pt x="405" y="3"/>
                  </a:cubicBezTo>
                  <a:cubicBezTo>
                    <a:pt x="394" y="1"/>
                    <a:pt x="394" y="1"/>
                    <a:pt x="394" y="1"/>
                  </a:cubicBezTo>
                  <a:cubicBezTo>
                    <a:pt x="388" y="1"/>
                    <a:pt x="383" y="3"/>
                    <a:pt x="379" y="8"/>
                  </a:cubicBezTo>
                  <a:cubicBezTo>
                    <a:pt x="359" y="38"/>
                    <a:pt x="359" y="38"/>
                    <a:pt x="359" y="38"/>
                  </a:cubicBezTo>
                  <a:cubicBezTo>
                    <a:pt x="352" y="37"/>
                    <a:pt x="352" y="37"/>
                    <a:pt x="352" y="37"/>
                  </a:cubicBezTo>
                  <a:cubicBezTo>
                    <a:pt x="352" y="37"/>
                    <a:pt x="351" y="37"/>
                    <a:pt x="350" y="37"/>
                  </a:cubicBezTo>
                  <a:cubicBezTo>
                    <a:pt x="342" y="38"/>
                    <a:pt x="342" y="38"/>
                    <a:pt x="342" y="38"/>
                  </a:cubicBezTo>
                  <a:cubicBezTo>
                    <a:pt x="322" y="8"/>
                    <a:pt x="322" y="8"/>
                    <a:pt x="322" y="8"/>
                  </a:cubicBezTo>
                  <a:cubicBezTo>
                    <a:pt x="318" y="3"/>
                    <a:pt x="312" y="0"/>
                    <a:pt x="306" y="2"/>
                  </a:cubicBezTo>
                  <a:cubicBezTo>
                    <a:pt x="285" y="5"/>
                    <a:pt x="285" y="5"/>
                    <a:pt x="285" y="5"/>
                  </a:cubicBezTo>
                  <a:cubicBezTo>
                    <a:pt x="279" y="7"/>
                    <a:pt x="275" y="11"/>
                    <a:pt x="273" y="16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1" y="50"/>
                    <a:pt x="261" y="50"/>
                    <a:pt x="261" y="50"/>
                  </a:cubicBezTo>
                  <a:cubicBezTo>
                    <a:pt x="253" y="52"/>
                    <a:pt x="253" y="52"/>
                    <a:pt x="253" y="52"/>
                  </a:cubicBezTo>
                  <a:cubicBezTo>
                    <a:pt x="253" y="52"/>
                    <a:pt x="253" y="53"/>
                    <a:pt x="253" y="53"/>
                  </a:cubicBezTo>
                  <a:cubicBezTo>
                    <a:pt x="247" y="55"/>
                    <a:pt x="247" y="55"/>
                    <a:pt x="247" y="55"/>
                  </a:cubicBezTo>
                  <a:cubicBezTo>
                    <a:pt x="217" y="34"/>
                    <a:pt x="217" y="34"/>
                    <a:pt x="217" y="34"/>
                  </a:cubicBezTo>
                  <a:cubicBezTo>
                    <a:pt x="213" y="31"/>
                    <a:pt x="207" y="30"/>
                    <a:pt x="202" y="32"/>
                  </a:cubicBezTo>
                  <a:cubicBezTo>
                    <a:pt x="193" y="36"/>
                    <a:pt x="193" y="36"/>
                    <a:pt x="193" y="36"/>
                  </a:cubicBezTo>
                  <a:cubicBezTo>
                    <a:pt x="192" y="36"/>
                    <a:pt x="192" y="36"/>
                    <a:pt x="192" y="37"/>
                  </a:cubicBezTo>
                  <a:cubicBezTo>
                    <a:pt x="181" y="42"/>
                    <a:pt x="181" y="42"/>
                    <a:pt x="181" y="42"/>
                  </a:cubicBezTo>
                  <a:cubicBezTo>
                    <a:pt x="176" y="45"/>
                    <a:pt x="172" y="50"/>
                    <a:pt x="173" y="57"/>
                  </a:cubicBezTo>
                  <a:cubicBezTo>
                    <a:pt x="174" y="93"/>
                    <a:pt x="174" y="93"/>
                    <a:pt x="174" y="93"/>
                  </a:cubicBezTo>
                  <a:cubicBezTo>
                    <a:pt x="162" y="101"/>
                    <a:pt x="162" y="101"/>
                    <a:pt x="162" y="101"/>
                  </a:cubicBezTo>
                  <a:cubicBezTo>
                    <a:pt x="127" y="90"/>
                    <a:pt x="127" y="90"/>
                    <a:pt x="127" y="90"/>
                  </a:cubicBezTo>
                  <a:cubicBezTo>
                    <a:pt x="121" y="88"/>
                    <a:pt x="115" y="89"/>
                    <a:pt x="110" y="94"/>
                  </a:cubicBezTo>
                  <a:cubicBezTo>
                    <a:pt x="95" y="109"/>
                    <a:pt x="95" y="109"/>
                    <a:pt x="95" y="109"/>
                  </a:cubicBezTo>
                  <a:cubicBezTo>
                    <a:pt x="90" y="113"/>
                    <a:pt x="89" y="120"/>
                    <a:pt x="91" y="126"/>
                  </a:cubicBezTo>
                  <a:cubicBezTo>
                    <a:pt x="102" y="159"/>
                    <a:pt x="102" y="159"/>
                    <a:pt x="102" y="159"/>
                  </a:cubicBezTo>
                  <a:cubicBezTo>
                    <a:pt x="102" y="159"/>
                    <a:pt x="102" y="160"/>
                    <a:pt x="101" y="160"/>
                  </a:cubicBezTo>
                  <a:cubicBezTo>
                    <a:pt x="98" y="166"/>
                    <a:pt x="98" y="166"/>
                    <a:pt x="98" y="166"/>
                  </a:cubicBezTo>
                  <a:cubicBezTo>
                    <a:pt x="94" y="171"/>
                    <a:pt x="94" y="171"/>
                    <a:pt x="94" y="171"/>
                  </a:cubicBezTo>
                  <a:cubicBezTo>
                    <a:pt x="57" y="171"/>
                    <a:pt x="57" y="171"/>
                    <a:pt x="57" y="171"/>
                  </a:cubicBezTo>
                  <a:cubicBezTo>
                    <a:pt x="52" y="171"/>
                    <a:pt x="47" y="174"/>
                    <a:pt x="44" y="179"/>
                  </a:cubicBezTo>
                  <a:cubicBezTo>
                    <a:pt x="39" y="186"/>
                    <a:pt x="39" y="186"/>
                    <a:pt x="39" y="186"/>
                  </a:cubicBezTo>
                  <a:cubicBezTo>
                    <a:pt x="38" y="187"/>
                    <a:pt x="38" y="187"/>
                    <a:pt x="38" y="188"/>
                  </a:cubicBezTo>
                  <a:cubicBezTo>
                    <a:pt x="32" y="198"/>
                    <a:pt x="32" y="198"/>
                    <a:pt x="32" y="198"/>
                  </a:cubicBezTo>
                  <a:cubicBezTo>
                    <a:pt x="30" y="204"/>
                    <a:pt x="30" y="211"/>
                    <a:pt x="34" y="215"/>
                  </a:cubicBezTo>
                  <a:cubicBezTo>
                    <a:pt x="56" y="243"/>
                    <a:pt x="56" y="243"/>
                    <a:pt x="56" y="243"/>
                  </a:cubicBezTo>
                  <a:cubicBezTo>
                    <a:pt x="53" y="251"/>
                    <a:pt x="53" y="251"/>
                    <a:pt x="53" y="251"/>
                  </a:cubicBezTo>
                  <a:cubicBezTo>
                    <a:pt x="53" y="251"/>
                    <a:pt x="53" y="252"/>
                    <a:pt x="53" y="252"/>
                  </a:cubicBezTo>
                  <a:cubicBezTo>
                    <a:pt x="52" y="258"/>
                    <a:pt x="52" y="258"/>
                    <a:pt x="52" y="258"/>
                  </a:cubicBezTo>
                  <a:cubicBezTo>
                    <a:pt x="17" y="269"/>
                    <a:pt x="17" y="269"/>
                    <a:pt x="17" y="269"/>
                  </a:cubicBezTo>
                  <a:cubicBezTo>
                    <a:pt x="11" y="270"/>
                    <a:pt x="7" y="275"/>
                    <a:pt x="5" y="280"/>
                  </a:cubicBezTo>
                  <a:cubicBezTo>
                    <a:pt x="3" y="291"/>
                    <a:pt x="3" y="291"/>
                    <a:pt x="3" y="291"/>
                  </a:cubicBezTo>
                  <a:cubicBezTo>
                    <a:pt x="3" y="291"/>
                    <a:pt x="3" y="292"/>
                    <a:pt x="2" y="293"/>
                  </a:cubicBezTo>
                  <a:cubicBezTo>
                    <a:pt x="1" y="304"/>
                    <a:pt x="1" y="304"/>
                    <a:pt x="1" y="304"/>
                  </a:cubicBezTo>
                  <a:cubicBezTo>
                    <a:pt x="1" y="310"/>
                    <a:pt x="3" y="316"/>
                    <a:pt x="9" y="320"/>
                  </a:cubicBezTo>
                  <a:cubicBezTo>
                    <a:pt x="39" y="339"/>
                    <a:pt x="39" y="339"/>
                    <a:pt x="39" y="339"/>
                  </a:cubicBezTo>
                  <a:cubicBezTo>
                    <a:pt x="39" y="345"/>
                    <a:pt x="39" y="345"/>
                    <a:pt x="39" y="345"/>
                  </a:cubicBezTo>
                  <a:cubicBezTo>
                    <a:pt x="38" y="346"/>
                    <a:pt x="38" y="346"/>
                    <a:pt x="39" y="347"/>
                  </a:cubicBezTo>
                  <a:cubicBezTo>
                    <a:pt x="39" y="353"/>
                    <a:pt x="39" y="353"/>
                    <a:pt x="39" y="353"/>
                  </a:cubicBezTo>
                  <a:cubicBezTo>
                    <a:pt x="8" y="374"/>
                    <a:pt x="8" y="374"/>
                    <a:pt x="8" y="374"/>
                  </a:cubicBezTo>
                  <a:cubicBezTo>
                    <a:pt x="3" y="377"/>
                    <a:pt x="0" y="384"/>
                    <a:pt x="1" y="390"/>
                  </a:cubicBezTo>
                  <a:cubicBezTo>
                    <a:pt x="5" y="411"/>
                    <a:pt x="5" y="411"/>
                    <a:pt x="5" y="411"/>
                  </a:cubicBezTo>
                  <a:cubicBezTo>
                    <a:pt x="6" y="417"/>
                    <a:pt x="10" y="421"/>
                    <a:pt x="16" y="423"/>
                  </a:cubicBezTo>
                  <a:cubicBezTo>
                    <a:pt x="52" y="435"/>
                    <a:pt x="52" y="435"/>
                    <a:pt x="52" y="435"/>
                  </a:cubicBezTo>
                  <a:cubicBezTo>
                    <a:pt x="53" y="440"/>
                    <a:pt x="53" y="440"/>
                    <a:pt x="53" y="440"/>
                  </a:cubicBezTo>
                  <a:cubicBezTo>
                    <a:pt x="53" y="441"/>
                    <a:pt x="53" y="442"/>
                    <a:pt x="54" y="443"/>
                  </a:cubicBezTo>
                  <a:cubicBezTo>
                    <a:pt x="56" y="449"/>
                    <a:pt x="56" y="449"/>
                    <a:pt x="56" y="449"/>
                  </a:cubicBezTo>
                  <a:cubicBezTo>
                    <a:pt x="34" y="478"/>
                    <a:pt x="34" y="478"/>
                    <a:pt x="34" y="478"/>
                  </a:cubicBezTo>
                  <a:cubicBezTo>
                    <a:pt x="30" y="483"/>
                    <a:pt x="30" y="490"/>
                    <a:pt x="33" y="496"/>
                  </a:cubicBezTo>
                  <a:cubicBezTo>
                    <a:pt x="43" y="514"/>
                    <a:pt x="43" y="514"/>
                    <a:pt x="43" y="514"/>
                  </a:cubicBezTo>
                  <a:cubicBezTo>
                    <a:pt x="46" y="519"/>
                    <a:pt x="52" y="522"/>
                    <a:pt x="58" y="522"/>
                  </a:cubicBezTo>
                  <a:cubicBezTo>
                    <a:pt x="94" y="521"/>
                    <a:pt x="94" y="521"/>
                    <a:pt x="94" y="521"/>
                  </a:cubicBezTo>
                  <a:cubicBezTo>
                    <a:pt x="98" y="527"/>
                    <a:pt x="98" y="527"/>
                    <a:pt x="98" y="527"/>
                  </a:cubicBezTo>
                  <a:cubicBezTo>
                    <a:pt x="98" y="528"/>
                    <a:pt x="98" y="528"/>
                    <a:pt x="99" y="529"/>
                  </a:cubicBezTo>
                  <a:cubicBezTo>
                    <a:pt x="102" y="533"/>
                    <a:pt x="102" y="533"/>
                    <a:pt x="102" y="533"/>
                  </a:cubicBezTo>
                  <a:cubicBezTo>
                    <a:pt x="91" y="568"/>
                    <a:pt x="91" y="568"/>
                    <a:pt x="91" y="568"/>
                  </a:cubicBezTo>
                  <a:cubicBezTo>
                    <a:pt x="89" y="573"/>
                    <a:pt x="90" y="580"/>
                    <a:pt x="95" y="584"/>
                  </a:cubicBezTo>
                  <a:cubicBezTo>
                    <a:pt x="110" y="600"/>
                    <a:pt x="110" y="600"/>
                    <a:pt x="110" y="600"/>
                  </a:cubicBezTo>
                  <a:cubicBezTo>
                    <a:pt x="115" y="604"/>
                    <a:pt x="121" y="605"/>
                    <a:pt x="127" y="603"/>
                  </a:cubicBezTo>
                  <a:cubicBezTo>
                    <a:pt x="162" y="592"/>
                    <a:pt x="162" y="592"/>
                    <a:pt x="162" y="592"/>
                  </a:cubicBezTo>
                  <a:cubicBezTo>
                    <a:pt x="167" y="596"/>
                    <a:pt x="167" y="596"/>
                    <a:pt x="167" y="596"/>
                  </a:cubicBezTo>
                  <a:cubicBezTo>
                    <a:pt x="167" y="596"/>
                    <a:pt x="168" y="596"/>
                    <a:pt x="168" y="596"/>
                  </a:cubicBezTo>
                  <a:cubicBezTo>
                    <a:pt x="174" y="600"/>
                    <a:pt x="174" y="600"/>
                    <a:pt x="174" y="600"/>
                  </a:cubicBezTo>
                  <a:cubicBezTo>
                    <a:pt x="173" y="635"/>
                    <a:pt x="173" y="635"/>
                    <a:pt x="173" y="635"/>
                  </a:cubicBezTo>
                  <a:cubicBezTo>
                    <a:pt x="172" y="641"/>
                    <a:pt x="175" y="647"/>
                    <a:pt x="180" y="650"/>
                  </a:cubicBezTo>
                  <a:cubicBezTo>
                    <a:pt x="190" y="656"/>
                    <a:pt x="190" y="656"/>
                    <a:pt x="190" y="656"/>
                  </a:cubicBezTo>
                  <a:cubicBezTo>
                    <a:pt x="191" y="656"/>
                    <a:pt x="192" y="657"/>
                    <a:pt x="193" y="657"/>
                  </a:cubicBezTo>
                  <a:cubicBezTo>
                    <a:pt x="202" y="661"/>
                    <a:pt x="202" y="661"/>
                    <a:pt x="202" y="661"/>
                  </a:cubicBezTo>
                  <a:cubicBezTo>
                    <a:pt x="207" y="663"/>
                    <a:pt x="213" y="663"/>
                    <a:pt x="218" y="659"/>
                  </a:cubicBezTo>
                  <a:cubicBezTo>
                    <a:pt x="245" y="638"/>
                    <a:pt x="245" y="638"/>
                    <a:pt x="245" y="638"/>
                  </a:cubicBezTo>
                  <a:cubicBezTo>
                    <a:pt x="246" y="639"/>
                    <a:pt x="247" y="639"/>
                    <a:pt x="248" y="639"/>
                  </a:cubicBezTo>
                  <a:cubicBezTo>
                    <a:pt x="254" y="640"/>
                    <a:pt x="254" y="640"/>
                    <a:pt x="254" y="640"/>
                  </a:cubicBezTo>
                  <a:cubicBezTo>
                    <a:pt x="261" y="642"/>
                    <a:pt x="261" y="642"/>
                    <a:pt x="261" y="642"/>
                  </a:cubicBezTo>
                  <a:cubicBezTo>
                    <a:pt x="273" y="677"/>
                    <a:pt x="273" y="677"/>
                    <a:pt x="273" y="677"/>
                  </a:cubicBezTo>
                  <a:cubicBezTo>
                    <a:pt x="275" y="683"/>
                    <a:pt x="280" y="687"/>
                    <a:pt x="286" y="688"/>
                  </a:cubicBezTo>
                  <a:cubicBezTo>
                    <a:pt x="307" y="691"/>
                    <a:pt x="307" y="691"/>
                    <a:pt x="307" y="691"/>
                  </a:cubicBezTo>
                  <a:cubicBezTo>
                    <a:pt x="312" y="691"/>
                    <a:pt x="318" y="689"/>
                    <a:pt x="322" y="684"/>
                  </a:cubicBezTo>
                  <a:cubicBezTo>
                    <a:pt x="343" y="655"/>
                    <a:pt x="343" y="655"/>
                    <a:pt x="343" y="655"/>
                  </a:cubicBezTo>
                  <a:cubicBezTo>
                    <a:pt x="358" y="655"/>
                    <a:pt x="358" y="655"/>
                    <a:pt x="358" y="655"/>
                  </a:cubicBezTo>
                  <a:cubicBezTo>
                    <a:pt x="379" y="684"/>
                    <a:pt x="379" y="684"/>
                    <a:pt x="379" y="684"/>
                  </a:cubicBezTo>
                  <a:cubicBezTo>
                    <a:pt x="382" y="688"/>
                    <a:pt x="387" y="691"/>
                    <a:pt x="392" y="691"/>
                  </a:cubicBezTo>
                  <a:cubicBezTo>
                    <a:pt x="393" y="691"/>
                    <a:pt x="394" y="691"/>
                    <a:pt x="394" y="691"/>
                  </a:cubicBezTo>
                  <a:cubicBezTo>
                    <a:pt x="415" y="688"/>
                    <a:pt x="415" y="688"/>
                    <a:pt x="415" y="688"/>
                  </a:cubicBezTo>
                  <a:cubicBezTo>
                    <a:pt x="421" y="687"/>
                    <a:pt x="426" y="683"/>
                    <a:pt x="428" y="677"/>
                  </a:cubicBezTo>
                  <a:cubicBezTo>
                    <a:pt x="440" y="642"/>
                    <a:pt x="440" y="642"/>
                    <a:pt x="440" y="642"/>
                  </a:cubicBezTo>
                  <a:cubicBezTo>
                    <a:pt x="448" y="640"/>
                    <a:pt x="448" y="640"/>
                    <a:pt x="448" y="640"/>
                  </a:cubicBezTo>
                  <a:cubicBezTo>
                    <a:pt x="448" y="640"/>
                    <a:pt x="448" y="639"/>
                    <a:pt x="448" y="639"/>
                  </a:cubicBezTo>
                  <a:cubicBezTo>
                    <a:pt x="454" y="637"/>
                    <a:pt x="454" y="637"/>
                    <a:pt x="454" y="637"/>
                  </a:cubicBezTo>
                  <a:cubicBezTo>
                    <a:pt x="483" y="659"/>
                    <a:pt x="483" y="659"/>
                    <a:pt x="483" y="659"/>
                  </a:cubicBezTo>
                  <a:cubicBezTo>
                    <a:pt x="488" y="663"/>
                    <a:pt x="494" y="663"/>
                    <a:pt x="499" y="661"/>
                  </a:cubicBezTo>
                  <a:cubicBezTo>
                    <a:pt x="508" y="657"/>
                    <a:pt x="508" y="657"/>
                    <a:pt x="508" y="657"/>
                  </a:cubicBezTo>
                  <a:cubicBezTo>
                    <a:pt x="509" y="657"/>
                    <a:pt x="510" y="656"/>
                    <a:pt x="510" y="656"/>
                  </a:cubicBezTo>
                  <a:cubicBezTo>
                    <a:pt x="521" y="650"/>
                    <a:pt x="521" y="650"/>
                    <a:pt x="521" y="650"/>
                  </a:cubicBezTo>
                  <a:cubicBezTo>
                    <a:pt x="525" y="647"/>
                    <a:pt x="528" y="641"/>
                    <a:pt x="528" y="636"/>
                  </a:cubicBezTo>
                  <a:cubicBezTo>
                    <a:pt x="528" y="600"/>
                    <a:pt x="528" y="600"/>
                    <a:pt x="528" y="600"/>
                  </a:cubicBezTo>
                  <a:cubicBezTo>
                    <a:pt x="533" y="596"/>
                    <a:pt x="533" y="596"/>
                    <a:pt x="533" y="596"/>
                  </a:cubicBezTo>
                  <a:cubicBezTo>
                    <a:pt x="539" y="592"/>
                    <a:pt x="539" y="592"/>
                    <a:pt x="539" y="592"/>
                  </a:cubicBezTo>
                  <a:cubicBezTo>
                    <a:pt x="574" y="603"/>
                    <a:pt x="574" y="603"/>
                    <a:pt x="574" y="603"/>
                  </a:cubicBezTo>
                  <a:cubicBezTo>
                    <a:pt x="580" y="605"/>
                    <a:pt x="586" y="604"/>
                    <a:pt x="591" y="600"/>
                  </a:cubicBezTo>
                  <a:cubicBezTo>
                    <a:pt x="606" y="584"/>
                    <a:pt x="606" y="584"/>
                    <a:pt x="606" y="584"/>
                  </a:cubicBezTo>
                  <a:cubicBezTo>
                    <a:pt x="610" y="580"/>
                    <a:pt x="612" y="573"/>
                    <a:pt x="610" y="568"/>
                  </a:cubicBezTo>
                  <a:cubicBezTo>
                    <a:pt x="599" y="533"/>
                    <a:pt x="599" y="533"/>
                    <a:pt x="599" y="533"/>
                  </a:cubicBezTo>
                  <a:cubicBezTo>
                    <a:pt x="602" y="528"/>
                    <a:pt x="602" y="528"/>
                    <a:pt x="602" y="528"/>
                  </a:cubicBezTo>
                  <a:cubicBezTo>
                    <a:pt x="603" y="528"/>
                    <a:pt x="603" y="528"/>
                    <a:pt x="603" y="527"/>
                  </a:cubicBezTo>
                  <a:cubicBezTo>
                    <a:pt x="607" y="521"/>
                    <a:pt x="607" y="521"/>
                    <a:pt x="607" y="521"/>
                  </a:cubicBezTo>
                  <a:cubicBezTo>
                    <a:pt x="643" y="522"/>
                    <a:pt x="643" y="522"/>
                    <a:pt x="643" y="522"/>
                  </a:cubicBezTo>
                  <a:cubicBezTo>
                    <a:pt x="649" y="522"/>
                    <a:pt x="655" y="519"/>
                    <a:pt x="658" y="514"/>
                  </a:cubicBezTo>
                  <a:cubicBezTo>
                    <a:pt x="668" y="496"/>
                    <a:pt x="668" y="496"/>
                    <a:pt x="668" y="496"/>
                  </a:cubicBezTo>
                  <a:cubicBezTo>
                    <a:pt x="671" y="490"/>
                    <a:pt x="671" y="483"/>
                    <a:pt x="667" y="478"/>
                  </a:cubicBezTo>
                  <a:cubicBezTo>
                    <a:pt x="645" y="449"/>
                    <a:pt x="645" y="449"/>
                    <a:pt x="645" y="449"/>
                  </a:cubicBezTo>
                  <a:cubicBezTo>
                    <a:pt x="647" y="443"/>
                    <a:pt x="647" y="443"/>
                    <a:pt x="647" y="443"/>
                  </a:cubicBezTo>
                  <a:cubicBezTo>
                    <a:pt x="647" y="443"/>
                    <a:pt x="648" y="442"/>
                    <a:pt x="648" y="441"/>
                  </a:cubicBezTo>
                  <a:cubicBezTo>
                    <a:pt x="649" y="435"/>
                    <a:pt x="649" y="435"/>
                    <a:pt x="649" y="435"/>
                  </a:cubicBezTo>
                  <a:cubicBezTo>
                    <a:pt x="685" y="423"/>
                    <a:pt x="685" y="423"/>
                    <a:pt x="685" y="423"/>
                  </a:cubicBezTo>
                  <a:cubicBezTo>
                    <a:pt x="691" y="421"/>
                    <a:pt x="695" y="416"/>
                    <a:pt x="696" y="410"/>
                  </a:cubicBezTo>
                  <a:cubicBezTo>
                    <a:pt x="698" y="389"/>
                    <a:pt x="698" y="389"/>
                    <a:pt x="698" y="389"/>
                  </a:cubicBezTo>
                  <a:cubicBezTo>
                    <a:pt x="699" y="383"/>
                    <a:pt x="697" y="377"/>
                    <a:pt x="692" y="37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CH" sz="1600" dirty="0"/>
            </a:p>
          </p:txBody>
        </p:sp>
        <p:sp>
          <p:nvSpPr>
            <p:cNvPr id="12" name="Oval 15">
              <a:extLst>
                <a:ext uri="{FF2B5EF4-FFF2-40B4-BE49-F238E27FC236}">
                  <a16:creationId xmlns:a16="http://schemas.microsoft.com/office/drawing/2014/main" id="{D595C50F-5553-49D5-871D-14F951EA2A30}"/>
                </a:ext>
              </a:extLst>
            </p:cNvPr>
            <p:cNvSpPr/>
            <p:nvPr/>
          </p:nvSpPr>
          <p:spPr>
            <a:xfrm>
              <a:off x="11696315" y="6362315"/>
              <a:ext cx="359032" cy="35903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</p:grpSp>
    </p:spTree>
    <p:extLst>
      <p:ext uri="{BB962C8B-B14F-4D97-AF65-F5344CB8AC3E}">
        <p14:creationId xmlns:p14="http://schemas.microsoft.com/office/powerpoint/2010/main" val="23740919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5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fr-CH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CH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A13FF3-A3B4-402D-91B1-C176C247EB92}" type="datetimeFigureOut">
              <a:rPr lang="fr-CH" smtClean="0"/>
              <a:t>05.04.2019</a:t>
            </a:fld>
            <a:endParaRPr lang="fr-CH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107053-0274-46BF-A48C-B751F6C03B80}" type="slidenum">
              <a:rPr lang="fr-CH" smtClean="0"/>
              <a:t>‹N°›</a:t>
            </a:fld>
            <a:endParaRPr lang="fr-CH"/>
          </a:p>
        </p:txBody>
      </p:sp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10" name="Group 12">
            <a:extLst>
              <a:ext uri="{FF2B5EF4-FFF2-40B4-BE49-F238E27FC236}">
                <a16:creationId xmlns:a16="http://schemas.microsoft.com/office/drawing/2014/main" id="{D4C7281E-1F89-4F58-B1AC-3410C4AAABDB}"/>
              </a:ext>
            </a:extLst>
          </p:cNvPr>
          <p:cNvGrpSpPr/>
          <p:nvPr userDrawn="1"/>
        </p:nvGrpSpPr>
        <p:grpSpPr>
          <a:xfrm>
            <a:off x="11588238" y="6254238"/>
            <a:ext cx="575187" cy="575187"/>
            <a:chOff x="11588238" y="6254238"/>
            <a:chExt cx="575187" cy="575187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26779959-7738-4739-BD78-38F96FCD5584}"/>
                </a:ext>
              </a:extLst>
            </p:cNvPr>
            <p:cNvSpPr>
              <a:spLocks/>
            </p:cNvSpPr>
            <p:nvPr>
              <p:custDataLst>
                <p:tags r:id="rId1"/>
              </p:custDataLst>
            </p:nvPr>
          </p:nvSpPr>
          <p:spPr bwMode="gray">
            <a:xfrm>
              <a:off x="11588238" y="6254238"/>
              <a:ext cx="575187" cy="575187"/>
            </a:xfrm>
            <a:custGeom>
              <a:avLst/>
              <a:gdLst>
                <a:gd name="T0" fmla="*/ 662 w 699"/>
                <a:gd name="T1" fmla="*/ 347 h 691"/>
                <a:gd name="T2" fmla="*/ 691 w 699"/>
                <a:gd name="T3" fmla="*/ 320 h 691"/>
                <a:gd name="T4" fmla="*/ 684 w 699"/>
                <a:gd name="T5" fmla="*/ 269 h 691"/>
                <a:gd name="T6" fmla="*/ 645 w 699"/>
                <a:gd name="T7" fmla="*/ 243 h 691"/>
                <a:gd name="T8" fmla="*/ 663 w 699"/>
                <a:gd name="T9" fmla="*/ 188 h 691"/>
                <a:gd name="T10" fmla="*/ 644 w 699"/>
                <a:gd name="T11" fmla="*/ 171 h 691"/>
                <a:gd name="T12" fmla="*/ 602 w 699"/>
                <a:gd name="T13" fmla="*/ 165 h 691"/>
                <a:gd name="T14" fmla="*/ 606 w 699"/>
                <a:gd name="T15" fmla="*/ 109 h 691"/>
                <a:gd name="T16" fmla="*/ 540 w 699"/>
                <a:gd name="T17" fmla="*/ 101 h 691"/>
                <a:gd name="T18" fmla="*/ 528 w 699"/>
                <a:gd name="T19" fmla="*/ 93 h 691"/>
                <a:gd name="T20" fmla="*/ 509 w 699"/>
                <a:gd name="T21" fmla="*/ 37 h 691"/>
                <a:gd name="T22" fmla="*/ 484 w 699"/>
                <a:gd name="T23" fmla="*/ 34 h 691"/>
                <a:gd name="T24" fmla="*/ 447 w 699"/>
                <a:gd name="T25" fmla="*/ 52 h 691"/>
                <a:gd name="T26" fmla="*/ 417 w 699"/>
                <a:gd name="T27" fmla="*/ 6 h 691"/>
                <a:gd name="T28" fmla="*/ 394 w 699"/>
                <a:gd name="T29" fmla="*/ 1 h 691"/>
                <a:gd name="T30" fmla="*/ 352 w 699"/>
                <a:gd name="T31" fmla="*/ 37 h 691"/>
                <a:gd name="T32" fmla="*/ 322 w 699"/>
                <a:gd name="T33" fmla="*/ 8 h 691"/>
                <a:gd name="T34" fmla="*/ 273 w 699"/>
                <a:gd name="T35" fmla="*/ 16 h 691"/>
                <a:gd name="T36" fmla="*/ 253 w 699"/>
                <a:gd name="T37" fmla="*/ 52 h 691"/>
                <a:gd name="T38" fmla="*/ 217 w 699"/>
                <a:gd name="T39" fmla="*/ 34 h 691"/>
                <a:gd name="T40" fmla="*/ 192 w 699"/>
                <a:gd name="T41" fmla="*/ 37 h 691"/>
                <a:gd name="T42" fmla="*/ 174 w 699"/>
                <a:gd name="T43" fmla="*/ 93 h 691"/>
                <a:gd name="T44" fmla="*/ 110 w 699"/>
                <a:gd name="T45" fmla="*/ 94 h 691"/>
                <a:gd name="T46" fmla="*/ 102 w 699"/>
                <a:gd name="T47" fmla="*/ 159 h 691"/>
                <a:gd name="T48" fmla="*/ 94 w 699"/>
                <a:gd name="T49" fmla="*/ 171 h 691"/>
                <a:gd name="T50" fmla="*/ 39 w 699"/>
                <a:gd name="T51" fmla="*/ 186 h 691"/>
                <a:gd name="T52" fmla="*/ 34 w 699"/>
                <a:gd name="T53" fmla="*/ 215 h 691"/>
                <a:gd name="T54" fmla="*/ 53 w 699"/>
                <a:gd name="T55" fmla="*/ 252 h 691"/>
                <a:gd name="T56" fmla="*/ 5 w 699"/>
                <a:gd name="T57" fmla="*/ 280 h 691"/>
                <a:gd name="T58" fmla="*/ 1 w 699"/>
                <a:gd name="T59" fmla="*/ 304 h 691"/>
                <a:gd name="T60" fmla="*/ 39 w 699"/>
                <a:gd name="T61" fmla="*/ 345 h 691"/>
                <a:gd name="T62" fmla="*/ 8 w 699"/>
                <a:gd name="T63" fmla="*/ 374 h 691"/>
                <a:gd name="T64" fmla="*/ 16 w 699"/>
                <a:gd name="T65" fmla="*/ 423 h 691"/>
                <a:gd name="T66" fmla="*/ 54 w 699"/>
                <a:gd name="T67" fmla="*/ 443 h 691"/>
                <a:gd name="T68" fmla="*/ 33 w 699"/>
                <a:gd name="T69" fmla="*/ 496 h 691"/>
                <a:gd name="T70" fmla="*/ 94 w 699"/>
                <a:gd name="T71" fmla="*/ 521 h 691"/>
                <a:gd name="T72" fmla="*/ 102 w 699"/>
                <a:gd name="T73" fmla="*/ 533 h 691"/>
                <a:gd name="T74" fmla="*/ 110 w 699"/>
                <a:gd name="T75" fmla="*/ 600 h 691"/>
                <a:gd name="T76" fmla="*/ 167 w 699"/>
                <a:gd name="T77" fmla="*/ 596 h 691"/>
                <a:gd name="T78" fmla="*/ 173 w 699"/>
                <a:gd name="T79" fmla="*/ 635 h 691"/>
                <a:gd name="T80" fmla="*/ 193 w 699"/>
                <a:gd name="T81" fmla="*/ 657 h 691"/>
                <a:gd name="T82" fmla="*/ 245 w 699"/>
                <a:gd name="T83" fmla="*/ 638 h 691"/>
                <a:gd name="T84" fmla="*/ 261 w 699"/>
                <a:gd name="T85" fmla="*/ 642 h 691"/>
                <a:gd name="T86" fmla="*/ 307 w 699"/>
                <a:gd name="T87" fmla="*/ 691 h 691"/>
                <a:gd name="T88" fmla="*/ 358 w 699"/>
                <a:gd name="T89" fmla="*/ 655 h 691"/>
                <a:gd name="T90" fmla="*/ 394 w 699"/>
                <a:gd name="T91" fmla="*/ 691 h 691"/>
                <a:gd name="T92" fmla="*/ 440 w 699"/>
                <a:gd name="T93" fmla="*/ 642 h 691"/>
                <a:gd name="T94" fmla="*/ 454 w 699"/>
                <a:gd name="T95" fmla="*/ 637 h 691"/>
                <a:gd name="T96" fmla="*/ 508 w 699"/>
                <a:gd name="T97" fmla="*/ 657 h 691"/>
                <a:gd name="T98" fmla="*/ 528 w 699"/>
                <a:gd name="T99" fmla="*/ 636 h 691"/>
                <a:gd name="T100" fmla="*/ 539 w 699"/>
                <a:gd name="T101" fmla="*/ 592 h 691"/>
                <a:gd name="T102" fmla="*/ 606 w 699"/>
                <a:gd name="T103" fmla="*/ 584 h 691"/>
                <a:gd name="T104" fmla="*/ 602 w 699"/>
                <a:gd name="T105" fmla="*/ 528 h 691"/>
                <a:gd name="T106" fmla="*/ 643 w 699"/>
                <a:gd name="T107" fmla="*/ 522 h 691"/>
                <a:gd name="T108" fmla="*/ 667 w 699"/>
                <a:gd name="T109" fmla="*/ 478 h 691"/>
                <a:gd name="T110" fmla="*/ 648 w 699"/>
                <a:gd name="T111" fmla="*/ 441 h 691"/>
                <a:gd name="T112" fmla="*/ 696 w 699"/>
                <a:gd name="T113" fmla="*/ 410 h 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99" h="691">
                  <a:moveTo>
                    <a:pt x="692" y="374"/>
                  </a:moveTo>
                  <a:cubicBezTo>
                    <a:pt x="662" y="354"/>
                    <a:pt x="662" y="354"/>
                    <a:pt x="662" y="354"/>
                  </a:cubicBezTo>
                  <a:cubicBezTo>
                    <a:pt x="662" y="347"/>
                    <a:pt x="662" y="347"/>
                    <a:pt x="662" y="347"/>
                  </a:cubicBezTo>
                  <a:cubicBezTo>
                    <a:pt x="662" y="346"/>
                    <a:pt x="662" y="346"/>
                    <a:pt x="662" y="345"/>
                  </a:cubicBezTo>
                  <a:cubicBezTo>
                    <a:pt x="662" y="339"/>
                    <a:pt x="662" y="339"/>
                    <a:pt x="662" y="339"/>
                  </a:cubicBezTo>
                  <a:cubicBezTo>
                    <a:pt x="691" y="320"/>
                    <a:pt x="691" y="320"/>
                    <a:pt x="691" y="320"/>
                  </a:cubicBezTo>
                  <a:cubicBezTo>
                    <a:pt x="696" y="316"/>
                    <a:pt x="699" y="310"/>
                    <a:pt x="698" y="304"/>
                  </a:cubicBezTo>
                  <a:cubicBezTo>
                    <a:pt x="696" y="282"/>
                    <a:pt x="696" y="282"/>
                    <a:pt x="696" y="282"/>
                  </a:cubicBezTo>
                  <a:cubicBezTo>
                    <a:pt x="695" y="276"/>
                    <a:pt x="691" y="271"/>
                    <a:pt x="684" y="269"/>
                  </a:cubicBezTo>
                  <a:cubicBezTo>
                    <a:pt x="650" y="259"/>
                    <a:pt x="650" y="259"/>
                    <a:pt x="650" y="259"/>
                  </a:cubicBezTo>
                  <a:cubicBezTo>
                    <a:pt x="650" y="259"/>
                    <a:pt x="650" y="259"/>
                    <a:pt x="650" y="258"/>
                  </a:cubicBezTo>
                  <a:cubicBezTo>
                    <a:pt x="645" y="243"/>
                    <a:pt x="645" y="243"/>
                    <a:pt x="645" y="243"/>
                  </a:cubicBezTo>
                  <a:cubicBezTo>
                    <a:pt x="667" y="215"/>
                    <a:pt x="667" y="215"/>
                    <a:pt x="667" y="215"/>
                  </a:cubicBezTo>
                  <a:cubicBezTo>
                    <a:pt x="671" y="211"/>
                    <a:pt x="671" y="204"/>
                    <a:pt x="668" y="198"/>
                  </a:cubicBezTo>
                  <a:cubicBezTo>
                    <a:pt x="663" y="188"/>
                    <a:pt x="663" y="188"/>
                    <a:pt x="663" y="188"/>
                  </a:cubicBezTo>
                  <a:cubicBezTo>
                    <a:pt x="663" y="187"/>
                    <a:pt x="663" y="187"/>
                    <a:pt x="662" y="186"/>
                  </a:cubicBezTo>
                  <a:cubicBezTo>
                    <a:pt x="657" y="179"/>
                    <a:pt x="657" y="179"/>
                    <a:pt x="657" y="179"/>
                  </a:cubicBezTo>
                  <a:cubicBezTo>
                    <a:pt x="654" y="174"/>
                    <a:pt x="649" y="171"/>
                    <a:pt x="644" y="171"/>
                  </a:cubicBezTo>
                  <a:cubicBezTo>
                    <a:pt x="607" y="171"/>
                    <a:pt x="607" y="171"/>
                    <a:pt x="607" y="171"/>
                  </a:cubicBezTo>
                  <a:cubicBezTo>
                    <a:pt x="603" y="165"/>
                    <a:pt x="603" y="165"/>
                    <a:pt x="603" y="165"/>
                  </a:cubicBezTo>
                  <a:cubicBezTo>
                    <a:pt x="603" y="165"/>
                    <a:pt x="602" y="165"/>
                    <a:pt x="602" y="165"/>
                  </a:cubicBezTo>
                  <a:cubicBezTo>
                    <a:pt x="599" y="160"/>
                    <a:pt x="599" y="160"/>
                    <a:pt x="599" y="160"/>
                  </a:cubicBezTo>
                  <a:cubicBezTo>
                    <a:pt x="610" y="126"/>
                    <a:pt x="610" y="126"/>
                    <a:pt x="610" y="126"/>
                  </a:cubicBezTo>
                  <a:cubicBezTo>
                    <a:pt x="612" y="120"/>
                    <a:pt x="610" y="113"/>
                    <a:pt x="606" y="109"/>
                  </a:cubicBezTo>
                  <a:cubicBezTo>
                    <a:pt x="591" y="94"/>
                    <a:pt x="591" y="94"/>
                    <a:pt x="591" y="94"/>
                  </a:cubicBezTo>
                  <a:cubicBezTo>
                    <a:pt x="586" y="89"/>
                    <a:pt x="580" y="88"/>
                    <a:pt x="574" y="90"/>
                  </a:cubicBezTo>
                  <a:cubicBezTo>
                    <a:pt x="540" y="101"/>
                    <a:pt x="540" y="101"/>
                    <a:pt x="540" y="101"/>
                  </a:cubicBezTo>
                  <a:cubicBezTo>
                    <a:pt x="540" y="101"/>
                    <a:pt x="539" y="101"/>
                    <a:pt x="539" y="100"/>
                  </a:cubicBezTo>
                  <a:cubicBezTo>
                    <a:pt x="533" y="97"/>
                    <a:pt x="533" y="97"/>
                    <a:pt x="533" y="97"/>
                  </a:cubicBezTo>
                  <a:cubicBezTo>
                    <a:pt x="528" y="93"/>
                    <a:pt x="528" y="93"/>
                    <a:pt x="528" y="93"/>
                  </a:cubicBezTo>
                  <a:cubicBezTo>
                    <a:pt x="528" y="56"/>
                    <a:pt x="528" y="56"/>
                    <a:pt x="528" y="56"/>
                  </a:cubicBezTo>
                  <a:cubicBezTo>
                    <a:pt x="528" y="50"/>
                    <a:pt x="525" y="44"/>
                    <a:pt x="519" y="42"/>
                  </a:cubicBezTo>
                  <a:cubicBezTo>
                    <a:pt x="509" y="37"/>
                    <a:pt x="509" y="37"/>
                    <a:pt x="509" y="37"/>
                  </a:cubicBezTo>
                  <a:cubicBezTo>
                    <a:pt x="509" y="36"/>
                    <a:pt x="509" y="36"/>
                    <a:pt x="508" y="36"/>
                  </a:cubicBezTo>
                  <a:cubicBezTo>
                    <a:pt x="499" y="32"/>
                    <a:pt x="499" y="32"/>
                    <a:pt x="499" y="32"/>
                  </a:cubicBezTo>
                  <a:cubicBezTo>
                    <a:pt x="494" y="30"/>
                    <a:pt x="488" y="31"/>
                    <a:pt x="484" y="34"/>
                  </a:cubicBezTo>
                  <a:cubicBezTo>
                    <a:pt x="454" y="55"/>
                    <a:pt x="454" y="55"/>
                    <a:pt x="454" y="55"/>
                  </a:cubicBezTo>
                  <a:cubicBezTo>
                    <a:pt x="449" y="53"/>
                    <a:pt x="449" y="53"/>
                    <a:pt x="449" y="53"/>
                  </a:cubicBezTo>
                  <a:cubicBezTo>
                    <a:pt x="448" y="52"/>
                    <a:pt x="447" y="52"/>
                    <a:pt x="447" y="52"/>
                  </a:cubicBezTo>
                  <a:cubicBezTo>
                    <a:pt x="440" y="50"/>
                    <a:pt x="440" y="50"/>
                    <a:pt x="440" y="50"/>
                  </a:cubicBezTo>
                  <a:cubicBezTo>
                    <a:pt x="428" y="16"/>
                    <a:pt x="428" y="16"/>
                    <a:pt x="428" y="16"/>
                  </a:cubicBezTo>
                  <a:cubicBezTo>
                    <a:pt x="427" y="11"/>
                    <a:pt x="422" y="7"/>
                    <a:pt x="417" y="6"/>
                  </a:cubicBezTo>
                  <a:cubicBezTo>
                    <a:pt x="407" y="3"/>
                    <a:pt x="407" y="3"/>
                    <a:pt x="407" y="3"/>
                  </a:cubicBezTo>
                  <a:cubicBezTo>
                    <a:pt x="406" y="3"/>
                    <a:pt x="405" y="3"/>
                    <a:pt x="405" y="3"/>
                  </a:cubicBezTo>
                  <a:cubicBezTo>
                    <a:pt x="394" y="1"/>
                    <a:pt x="394" y="1"/>
                    <a:pt x="394" y="1"/>
                  </a:cubicBezTo>
                  <a:cubicBezTo>
                    <a:pt x="388" y="1"/>
                    <a:pt x="383" y="3"/>
                    <a:pt x="379" y="8"/>
                  </a:cubicBezTo>
                  <a:cubicBezTo>
                    <a:pt x="359" y="38"/>
                    <a:pt x="359" y="38"/>
                    <a:pt x="359" y="38"/>
                  </a:cubicBezTo>
                  <a:cubicBezTo>
                    <a:pt x="352" y="37"/>
                    <a:pt x="352" y="37"/>
                    <a:pt x="352" y="37"/>
                  </a:cubicBezTo>
                  <a:cubicBezTo>
                    <a:pt x="352" y="37"/>
                    <a:pt x="351" y="37"/>
                    <a:pt x="350" y="37"/>
                  </a:cubicBezTo>
                  <a:cubicBezTo>
                    <a:pt x="342" y="38"/>
                    <a:pt x="342" y="38"/>
                    <a:pt x="342" y="38"/>
                  </a:cubicBezTo>
                  <a:cubicBezTo>
                    <a:pt x="322" y="8"/>
                    <a:pt x="322" y="8"/>
                    <a:pt x="322" y="8"/>
                  </a:cubicBezTo>
                  <a:cubicBezTo>
                    <a:pt x="318" y="3"/>
                    <a:pt x="312" y="0"/>
                    <a:pt x="306" y="2"/>
                  </a:cubicBezTo>
                  <a:cubicBezTo>
                    <a:pt x="285" y="5"/>
                    <a:pt x="285" y="5"/>
                    <a:pt x="285" y="5"/>
                  </a:cubicBezTo>
                  <a:cubicBezTo>
                    <a:pt x="279" y="7"/>
                    <a:pt x="275" y="11"/>
                    <a:pt x="273" y="16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1" y="50"/>
                    <a:pt x="261" y="50"/>
                    <a:pt x="261" y="50"/>
                  </a:cubicBezTo>
                  <a:cubicBezTo>
                    <a:pt x="253" y="52"/>
                    <a:pt x="253" y="52"/>
                    <a:pt x="253" y="52"/>
                  </a:cubicBezTo>
                  <a:cubicBezTo>
                    <a:pt x="253" y="52"/>
                    <a:pt x="253" y="53"/>
                    <a:pt x="253" y="53"/>
                  </a:cubicBezTo>
                  <a:cubicBezTo>
                    <a:pt x="247" y="55"/>
                    <a:pt x="247" y="55"/>
                    <a:pt x="247" y="55"/>
                  </a:cubicBezTo>
                  <a:cubicBezTo>
                    <a:pt x="217" y="34"/>
                    <a:pt x="217" y="34"/>
                    <a:pt x="217" y="34"/>
                  </a:cubicBezTo>
                  <a:cubicBezTo>
                    <a:pt x="213" y="31"/>
                    <a:pt x="207" y="30"/>
                    <a:pt x="202" y="32"/>
                  </a:cubicBezTo>
                  <a:cubicBezTo>
                    <a:pt x="193" y="36"/>
                    <a:pt x="193" y="36"/>
                    <a:pt x="193" y="36"/>
                  </a:cubicBezTo>
                  <a:cubicBezTo>
                    <a:pt x="192" y="36"/>
                    <a:pt x="192" y="36"/>
                    <a:pt x="192" y="37"/>
                  </a:cubicBezTo>
                  <a:cubicBezTo>
                    <a:pt x="181" y="42"/>
                    <a:pt x="181" y="42"/>
                    <a:pt x="181" y="42"/>
                  </a:cubicBezTo>
                  <a:cubicBezTo>
                    <a:pt x="176" y="45"/>
                    <a:pt x="172" y="50"/>
                    <a:pt x="173" y="57"/>
                  </a:cubicBezTo>
                  <a:cubicBezTo>
                    <a:pt x="174" y="93"/>
                    <a:pt x="174" y="93"/>
                    <a:pt x="174" y="93"/>
                  </a:cubicBezTo>
                  <a:cubicBezTo>
                    <a:pt x="162" y="101"/>
                    <a:pt x="162" y="101"/>
                    <a:pt x="162" y="101"/>
                  </a:cubicBezTo>
                  <a:cubicBezTo>
                    <a:pt x="127" y="90"/>
                    <a:pt x="127" y="90"/>
                    <a:pt x="127" y="90"/>
                  </a:cubicBezTo>
                  <a:cubicBezTo>
                    <a:pt x="121" y="88"/>
                    <a:pt x="115" y="89"/>
                    <a:pt x="110" y="94"/>
                  </a:cubicBezTo>
                  <a:cubicBezTo>
                    <a:pt x="95" y="109"/>
                    <a:pt x="95" y="109"/>
                    <a:pt x="95" y="109"/>
                  </a:cubicBezTo>
                  <a:cubicBezTo>
                    <a:pt x="90" y="113"/>
                    <a:pt x="89" y="120"/>
                    <a:pt x="91" y="126"/>
                  </a:cubicBezTo>
                  <a:cubicBezTo>
                    <a:pt x="102" y="159"/>
                    <a:pt x="102" y="159"/>
                    <a:pt x="102" y="159"/>
                  </a:cubicBezTo>
                  <a:cubicBezTo>
                    <a:pt x="102" y="159"/>
                    <a:pt x="102" y="160"/>
                    <a:pt x="101" y="160"/>
                  </a:cubicBezTo>
                  <a:cubicBezTo>
                    <a:pt x="98" y="166"/>
                    <a:pt x="98" y="166"/>
                    <a:pt x="98" y="166"/>
                  </a:cubicBezTo>
                  <a:cubicBezTo>
                    <a:pt x="94" y="171"/>
                    <a:pt x="94" y="171"/>
                    <a:pt x="94" y="171"/>
                  </a:cubicBezTo>
                  <a:cubicBezTo>
                    <a:pt x="57" y="171"/>
                    <a:pt x="57" y="171"/>
                    <a:pt x="57" y="171"/>
                  </a:cubicBezTo>
                  <a:cubicBezTo>
                    <a:pt x="52" y="171"/>
                    <a:pt x="47" y="174"/>
                    <a:pt x="44" y="179"/>
                  </a:cubicBezTo>
                  <a:cubicBezTo>
                    <a:pt x="39" y="186"/>
                    <a:pt x="39" y="186"/>
                    <a:pt x="39" y="186"/>
                  </a:cubicBezTo>
                  <a:cubicBezTo>
                    <a:pt x="38" y="187"/>
                    <a:pt x="38" y="187"/>
                    <a:pt x="38" y="188"/>
                  </a:cubicBezTo>
                  <a:cubicBezTo>
                    <a:pt x="32" y="198"/>
                    <a:pt x="32" y="198"/>
                    <a:pt x="32" y="198"/>
                  </a:cubicBezTo>
                  <a:cubicBezTo>
                    <a:pt x="30" y="204"/>
                    <a:pt x="30" y="211"/>
                    <a:pt x="34" y="215"/>
                  </a:cubicBezTo>
                  <a:cubicBezTo>
                    <a:pt x="56" y="243"/>
                    <a:pt x="56" y="243"/>
                    <a:pt x="56" y="243"/>
                  </a:cubicBezTo>
                  <a:cubicBezTo>
                    <a:pt x="53" y="251"/>
                    <a:pt x="53" y="251"/>
                    <a:pt x="53" y="251"/>
                  </a:cubicBezTo>
                  <a:cubicBezTo>
                    <a:pt x="53" y="251"/>
                    <a:pt x="53" y="252"/>
                    <a:pt x="53" y="252"/>
                  </a:cubicBezTo>
                  <a:cubicBezTo>
                    <a:pt x="52" y="258"/>
                    <a:pt x="52" y="258"/>
                    <a:pt x="52" y="258"/>
                  </a:cubicBezTo>
                  <a:cubicBezTo>
                    <a:pt x="17" y="269"/>
                    <a:pt x="17" y="269"/>
                    <a:pt x="17" y="269"/>
                  </a:cubicBezTo>
                  <a:cubicBezTo>
                    <a:pt x="11" y="270"/>
                    <a:pt x="7" y="275"/>
                    <a:pt x="5" y="280"/>
                  </a:cubicBezTo>
                  <a:cubicBezTo>
                    <a:pt x="3" y="291"/>
                    <a:pt x="3" y="291"/>
                    <a:pt x="3" y="291"/>
                  </a:cubicBezTo>
                  <a:cubicBezTo>
                    <a:pt x="3" y="291"/>
                    <a:pt x="3" y="292"/>
                    <a:pt x="2" y="293"/>
                  </a:cubicBezTo>
                  <a:cubicBezTo>
                    <a:pt x="1" y="304"/>
                    <a:pt x="1" y="304"/>
                    <a:pt x="1" y="304"/>
                  </a:cubicBezTo>
                  <a:cubicBezTo>
                    <a:pt x="1" y="310"/>
                    <a:pt x="3" y="316"/>
                    <a:pt x="9" y="320"/>
                  </a:cubicBezTo>
                  <a:cubicBezTo>
                    <a:pt x="39" y="339"/>
                    <a:pt x="39" y="339"/>
                    <a:pt x="39" y="339"/>
                  </a:cubicBezTo>
                  <a:cubicBezTo>
                    <a:pt x="39" y="345"/>
                    <a:pt x="39" y="345"/>
                    <a:pt x="39" y="345"/>
                  </a:cubicBezTo>
                  <a:cubicBezTo>
                    <a:pt x="38" y="346"/>
                    <a:pt x="38" y="346"/>
                    <a:pt x="39" y="347"/>
                  </a:cubicBezTo>
                  <a:cubicBezTo>
                    <a:pt x="39" y="353"/>
                    <a:pt x="39" y="353"/>
                    <a:pt x="39" y="353"/>
                  </a:cubicBezTo>
                  <a:cubicBezTo>
                    <a:pt x="8" y="374"/>
                    <a:pt x="8" y="374"/>
                    <a:pt x="8" y="374"/>
                  </a:cubicBezTo>
                  <a:cubicBezTo>
                    <a:pt x="3" y="377"/>
                    <a:pt x="0" y="384"/>
                    <a:pt x="1" y="390"/>
                  </a:cubicBezTo>
                  <a:cubicBezTo>
                    <a:pt x="5" y="411"/>
                    <a:pt x="5" y="411"/>
                    <a:pt x="5" y="411"/>
                  </a:cubicBezTo>
                  <a:cubicBezTo>
                    <a:pt x="6" y="417"/>
                    <a:pt x="10" y="421"/>
                    <a:pt x="16" y="423"/>
                  </a:cubicBezTo>
                  <a:cubicBezTo>
                    <a:pt x="52" y="435"/>
                    <a:pt x="52" y="435"/>
                    <a:pt x="52" y="435"/>
                  </a:cubicBezTo>
                  <a:cubicBezTo>
                    <a:pt x="53" y="440"/>
                    <a:pt x="53" y="440"/>
                    <a:pt x="53" y="440"/>
                  </a:cubicBezTo>
                  <a:cubicBezTo>
                    <a:pt x="53" y="441"/>
                    <a:pt x="53" y="442"/>
                    <a:pt x="54" y="443"/>
                  </a:cubicBezTo>
                  <a:cubicBezTo>
                    <a:pt x="56" y="449"/>
                    <a:pt x="56" y="449"/>
                    <a:pt x="56" y="449"/>
                  </a:cubicBezTo>
                  <a:cubicBezTo>
                    <a:pt x="34" y="478"/>
                    <a:pt x="34" y="478"/>
                    <a:pt x="34" y="478"/>
                  </a:cubicBezTo>
                  <a:cubicBezTo>
                    <a:pt x="30" y="483"/>
                    <a:pt x="30" y="490"/>
                    <a:pt x="33" y="496"/>
                  </a:cubicBezTo>
                  <a:cubicBezTo>
                    <a:pt x="43" y="514"/>
                    <a:pt x="43" y="514"/>
                    <a:pt x="43" y="514"/>
                  </a:cubicBezTo>
                  <a:cubicBezTo>
                    <a:pt x="46" y="519"/>
                    <a:pt x="52" y="522"/>
                    <a:pt x="58" y="522"/>
                  </a:cubicBezTo>
                  <a:cubicBezTo>
                    <a:pt x="94" y="521"/>
                    <a:pt x="94" y="521"/>
                    <a:pt x="94" y="521"/>
                  </a:cubicBezTo>
                  <a:cubicBezTo>
                    <a:pt x="98" y="527"/>
                    <a:pt x="98" y="527"/>
                    <a:pt x="98" y="527"/>
                  </a:cubicBezTo>
                  <a:cubicBezTo>
                    <a:pt x="98" y="528"/>
                    <a:pt x="98" y="528"/>
                    <a:pt x="99" y="529"/>
                  </a:cubicBezTo>
                  <a:cubicBezTo>
                    <a:pt x="102" y="533"/>
                    <a:pt x="102" y="533"/>
                    <a:pt x="102" y="533"/>
                  </a:cubicBezTo>
                  <a:cubicBezTo>
                    <a:pt x="91" y="568"/>
                    <a:pt x="91" y="568"/>
                    <a:pt x="91" y="568"/>
                  </a:cubicBezTo>
                  <a:cubicBezTo>
                    <a:pt x="89" y="573"/>
                    <a:pt x="90" y="580"/>
                    <a:pt x="95" y="584"/>
                  </a:cubicBezTo>
                  <a:cubicBezTo>
                    <a:pt x="110" y="600"/>
                    <a:pt x="110" y="600"/>
                    <a:pt x="110" y="600"/>
                  </a:cubicBezTo>
                  <a:cubicBezTo>
                    <a:pt x="115" y="604"/>
                    <a:pt x="121" y="605"/>
                    <a:pt x="127" y="603"/>
                  </a:cubicBezTo>
                  <a:cubicBezTo>
                    <a:pt x="162" y="592"/>
                    <a:pt x="162" y="592"/>
                    <a:pt x="162" y="592"/>
                  </a:cubicBezTo>
                  <a:cubicBezTo>
                    <a:pt x="167" y="596"/>
                    <a:pt x="167" y="596"/>
                    <a:pt x="167" y="596"/>
                  </a:cubicBezTo>
                  <a:cubicBezTo>
                    <a:pt x="167" y="596"/>
                    <a:pt x="168" y="596"/>
                    <a:pt x="168" y="596"/>
                  </a:cubicBezTo>
                  <a:cubicBezTo>
                    <a:pt x="174" y="600"/>
                    <a:pt x="174" y="600"/>
                    <a:pt x="174" y="600"/>
                  </a:cubicBezTo>
                  <a:cubicBezTo>
                    <a:pt x="173" y="635"/>
                    <a:pt x="173" y="635"/>
                    <a:pt x="173" y="635"/>
                  </a:cubicBezTo>
                  <a:cubicBezTo>
                    <a:pt x="172" y="641"/>
                    <a:pt x="175" y="647"/>
                    <a:pt x="180" y="650"/>
                  </a:cubicBezTo>
                  <a:cubicBezTo>
                    <a:pt x="190" y="656"/>
                    <a:pt x="190" y="656"/>
                    <a:pt x="190" y="656"/>
                  </a:cubicBezTo>
                  <a:cubicBezTo>
                    <a:pt x="191" y="656"/>
                    <a:pt x="192" y="657"/>
                    <a:pt x="193" y="657"/>
                  </a:cubicBezTo>
                  <a:cubicBezTo>
                    <a:pt x="202" y="661"/>
                    <a:pt x="202" y="661"/>
                    <a:pt x="202" y="661"/>
                  </a:cubicBezTo>
                  <a:cubicBezTo>
                    <a:pt x="207" y="663"/>
                    <a:pt x="213" y="663"/>
                    <a:pt x="218" y="659"/>
                  </a:cubicBezTo>
                  <a:cubicBezTo>
                    <a:pt x="245" y="638"/>
                    <a:pt x="245" y="638"/>
                    <a:pt x="245" y="638"/>
                  </a:cubicBezTo>
                  <a:cubicBezTo>
                    <a:pt x="246" y="639"/>
                    <a:pt x="247" y="639"/>
                    <a:pt x="248" y="639"/>
                  </a:cubicBezTo>
                  <a:cubicBezTo>
                    <a:pt x="254" y="640"/>
                    <a:pt x="254" y="640"/>
                    <a:pt x="254" y="640"/>
                  </a:cubicBezTo>
                  <a:cubicBezTo>
                    <a:pt x="261" y="642"/>
                    <a:pt x="261" y="642"/>
                    <a:pt x="261" y="642"/>
                  </a:cubicBezTo>
                  <a:cubicBezTo>
                    <a:pt x="273" y="677"/>
                    <a:pt x="273" y="677"/>
                    <a:pt x="273" y="677"/>
                  </a:cubicBezTo>
                  <a:cubicBezTo>
                    <a:pt x="275" y="683"/>
                    <a:pt x="280" y="687"/>
                    <a:pt x="286" y="688"/>
                  </a:cubicBezTo>
                  <a:cubicBezTo>
                    <a:pt x="307" y="691"/>
                    <a:pt x="307" y="691"/>
                    <a:pt x="307" y="691"/>
                  </a:cubicBezTo>
                  <a:cubicBezTo>
                    <a:pt x="312" y="691"/>
                    <a:pt x="318" y="689"/>
                    <a:pt x="322" y="684"/>
                  </a:cubicBezTo>
                  <a:cubicBezTo>
                    <a:pt x="343" y="655"/>
                    <a:pt x="343" y="655"/>
                    <a:pt x="343" y="655"/>
                  </a:cubicBezTo>
                  <a:cubicBezTo>
                    <a:pt x="358" y="655"/>
                    <a:pt x="358" y="655"/>
                    <a:pt x="358" y="655"/>
                  </a:cubicBezTo>
                  <a:cubicBezTo>
                    <a:pt x="379" y="684"/>
                    <a:pt x="379" y="684"/>
                    <a:pt x="379" y="684"/>
                  </a:cubicBezTo>
                  <a:cubicBezTo>
                    <a:pt x="382" y="688"/>
                    <a:pt x="387" y="691"/>
                    <a:pt x="392" y="691"/>
                  </a:cubicBezTo>
                  <a:cubicBezTo>
                    <a:pt x="393" y="691"/>
                    <a:pt x="394" y="691"/>
                    <a:pt x="394" y="691"/>
                  </a:cubicBezTo>
                  <a:cubicBezTo>
                    <a:pt x="415" y="688"/>
                    <a:pt x="415" y="688"/>
                    <a:pt x="415" y="688"/>
                  </a:cubicBezTo>
                  <a:cubicBezTo>
                    <a:pt x="421" y="687"/>
                    <a:pt x="426" y="683"/>
                    <a:pt x="428" y="677"/>
                  </a:cubicBezTo>
                  <a:cubicBezTo>
                    <a:pt x="440" y="642"/>
                    <a:pt x="440" y="642"/>
                    <a:pt x="440" y="642"/>
                  </a:cubicBezTo>
                  <a:cubicBezTo>
                    <a:pt x="448" y="640"/>
                    <a:pt x="448" y="640"/>
                    <a:pt x="448" y="640"/>
                  </a:cubicBezTo>
                  <a:cubicBezTo>
                    <a:pt x="448" y="640"/>
                    <a:pt x="448" y="639"/>
                    <a:pt x="448" y="639"/>
                  </a:cubicBezTo>
                  <a:cubicBezTo>
                    <a:pt x="454" y="637"/>
                    <a:pt x="454" y="637"/>
                    <a:pt x="454" y="637"/>
                  </a:cubicBezTo>
                  <a:cubicBezTo>
                    <a:pt x="483" y="659"/>
                    <a:pt x="483" y="659"/>
                    <a:pt x="483" y="659"/>
                  </a:cubicBezTo>
                  <a:cubicBezTo>
                    <a:pt x="488" y="663"/>
                    <a:pt x="494" y="663"/>
                    <a:pt x="499" y="661"/>
                  </a:cubicBezTo>
                  <a:cubicBezTo>
                    <a:pt x="508" y="657"/>
                    <a:pt x="508" y="657"/>
                    <a:pt x="508" y="657"/>
                  </a:cubicBezTo>
                  <a:cubicBezTo>
                    <a:pt x="509" y="657"/>
                    <a:pt x="510" y="656"/>
                    <a:pt x="510" y="656"/>
                  </a:cubicBezTo>
                  <a:cubicBezTo>
                    <a:pt x="521" y="650"/>
                    <a:pt x="521" y="650"/>
                    <a:pt x="521" y="650"/>
                  </a:cubicBezTo>
                  <a:cubicBezTo>
                    <a:pt x="525" y="647"/>
                    <a:pt x="528" y="641"/>
                    <a:pt x="528" y="636"/>
                  </a:cubicBezTo>
                  <a:cubicBezTo>
                    <a:pt x="528" y="600"/>
                    <a:pt x="528" y="600"/>
                    <a:pt x="528" y="600"/>
                  </a:cubicBezTo>
                  <a:cubicBezTo>
                    <a:pt x="533" y="596"/>
                    <a:pt x="533" y="596"/>
                    <a:pt x="533" y="596"/>
                  </a:cubicBezTo>
                  <a:cubicBezTo>
                    <a:pt x="539" y="592"/>
                    <a:pt x="539" y="592"/>
                    <a:pt x="539" y="592"/>
                  </a:cubicBezTo>
                  <a:cubicBezTo>
                    <a:pt x="574" y="603"/>
                    <a:pt x="574" y="603"/>
                    <a:pt x="574" y="603"/>
                  </a:cubicBezTo>
                  <a:cubicBezTo>
                    <a:pt x="580" y="605"/>
                    <a:pt x="586" y="604"/>
                    <a:pt x="591" y="600"/>
                  </a:cubicBezTo>
                  <a:cubicBezTo>
                    <a:pt x="606" y="584"/>
                    <a:pt x="606" y="584"/>
                    <a:pt x="606" y="584"/>
                  </a:cubicBezTo>
                  <a:cubicBezTo>
                    <a:pt x="610" y="580"/>
                    <a:pt x="612" y="573"/>
                    <a:pt x="610" y="568"/>
                  </a:cubicBezTo>
                  <a:cubicBezTo>
                    <a:pt x="599" y="533"/>
                    <a:pt x="599" y="533"/>
                    <a:pt x="599" y="533"/>
                  </a:cubicBezTo>
                  <a:cubicBezTo>
                    <a:pt x="602" y="528"/>
                    <a:pt x="602" y="528"/>
                    <a:pt x="602" y="528"/>
                  </a:cubicBezTo>
                  <a:cubicBezTo>
                    <a:pt x="603" y="528"/>
                    <a:pt x="603" y="528"/>
                    <a:pt x="603" y="527"/>
                  </a:cubicBezTo>
                  <a:cubicBezTo>
                    <a:pt x="607" y="521"/>
                    <a:pt x="607" y="521"/>
                    <a:pt x="607" y="521"/>
                  </a:cubicBezTo>
                  <a:cubicBezTo>
                    <a:pt x="643" y="522"/>
                    <a:pt x="643" y="522"/>
                    <a:pt x="643" y="522"/>
                  </a:cubicBezTo>
                  <a:cubicBezTo>
                    <a:pt x="649" y="522"/>
                    <a:pt x="655" y="519"/>
                    <a:pt x="658" y="514"/>
                  </a:cubicBezTo>
                  <a:cubicBezTo>
                    <a:pt x="668" y="496"/>
                    <a:pt x="668" y="496"/>
                    <a:pt x="668" y="496"/>
                  </a:cubicBezTo>
                  <a:cubicBezTo>
                    <a:pt x="671" y="490"/>
                    <a:pt x="671" y="483"/>
                    <a:pt x="667" y="478"/>
                  </a:cubicBezTo>
                  <a:cubicBezTo>
                    <a:pt x="645" y="449"/>
                    <a:pt x="645" y="449"/>
                    <a:pt x="645" y="449"/>
                  </a:cubicBezTo>
                  <a:cubicBezTo>
                    <a:pt x="647" y="443"/>
                    <a:pt x="647" y="443"/>
                    <a:pt x="647" y="443"/>
                  </a:cubicBezTo>
                  <a:cubicBezTo>
                    <a:pt x="647" y="443"/>
                    <a:pt x="648" y="442"/>
                    <a:pt x="648" y="441"/>
                  </a:cubicBezTo>
                  <a:cubicBezTo>
                    <a:pt x="649" y="435"/>
                    <a:pt x="649" y="435"/>
                    <a:pt x="649" y="435"/>
                  </a:cubicBezTo>
                  <a:cubicBezTo>
                    <a:pt x="685" y="423"/>
                    <a:pt x="685" y="423"/>
                    <a:pt x="685" y="423"/>
                  </a:cubicBezTo>
                  <a:cubicBezTo>
                    <a:pt x="691" y="421"/>
                    <a:pt x="695" y="416"/>
                    <a:pt x="696" y="410"/>
                  </a:cubicBezTo>
                  <a:cubicBezTo>
                    <a:pt x="698" y="389"/>
                    <a:pt x="698" y="389"/>
                    <a:pt x="698" y="389"/>
                  </a:cubicBezTo>
                  <a:cubicBezTo>
                    <a:pt x="699" y="383"/>
                    <a:pt x="697" y="377"/>
                    <a:pt x="692" y="37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CH" sz="1600" dirty="0"/>
            </a:p>
          </p:txBody>
        </p:sp>
        <p:sp>
          <p:nvSpPr>
            <p:cNvPr id="12" name="Oval 15">
              <a:extLst>
                <a:ext uri="{FF2B5EF4-FFF2-40B4-BE49-F238E27FC236}">
                  <a16:creationId xmlns:a16="http://schemas.microsoft.com/office/drawing/2014/main" id="{64FBEACD-1274-4BF2-B606-DA0528CF9D89}"/>
                </a:ext>
              </a:extLst>
            </p:cNvPr>
            <p:cNvSpPr/>
            <p:nvPr/>
          </p:nvSpPr>
          <p:spPr>
            <a:xfrm>
              <a:off x="11696315" y="6362315"/>
              <a:ext cx="359032" cy="35903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</p:grpSp>
    </p:spTree>
    <p:extLst>
      <p:ext uri="{BB962C8B-B14F-4D97-AF65-F5344CB8AC3E}">
        <p14:creationId xmlns:p14="http://schemas.microsoft.com/office/powerpoint/2010/main" val="11070074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5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fr-C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CH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5A13FF3-A3B4-402D-91B1-C176C247EB92}" type="datetimeFigureOut">
              <a:rPr lang="fr-CH" smtClean="0"/>
              <a:t>05.04.2019</a:t>
            </a:fld>
            <a:endParaRPr lang="fr-CH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C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F107053-0274-46BF-A48C-B751F6C03B80}" type="slidenum">
              <a:rPr lang="fr-CH" smtClean="0"/>
              <a:t>‹N°›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25435260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6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tags" Target="../tags/tag30.xml"/><Relationship Id="rId18" Type="http://schemas.openxmlformats.org/officeDocument/2006/relationships/tags" Target="../tags/tag35.xml"/><Relationship Id="rId3" Type="http://schemas.openxmlformats.org/officeDocument/2006/relationships/tags" Target="../tags/tag20.xml"/><Relationship Id="rId21" Type="http://schemas.openxmlformats.org/officeDocument/2006/relationships/tags" Target="../tags/tag38.xml"/><Relationship Id="rId7" Type="http://schemas.openxmlformats.org/officeDocument/2006/relationships/tags" Target="../tags/tag24.xml"/><Relationship Id="rId12" Type="http://schemas.openxmlformats.org/officeDocument/2006/relationships/tags" Target="../tags/tag29.xml"/><Relationship Id="rId17" Type="http://schemas.openxmlformats.org/officeDocument/2006/relationships/tags" Target="../tags/tag34.xml"/><Relationship Id="rId25" Type="http://schemas.openxmlformats.org/officeDocument/2006/relationships/image" Target="../media/image1.emf"/><Relationship Id="rId2" Type="http://schemas.openxmlformats.org/officeDocument/2006/relationships/tags" Target="../tags/tag19.xml"/><Relationship Id="rId16" Type="http://schemas.openxmlformats.org/officeDocument/2006/relationships/tags" Target="../tags/tag33.xml"/><Relationship Id="rId20" Type="http://schemas.openxmlformats.org/officeDocument/2006/relationships/tags" Target="../tags/tag37.xml"/><Relationship Id="rId1" Type="http://schemas.openxmlformats.org/officeDocument/2006/relationships/vmlDrawing" Target="../drawings/vmlDrawing3.vml"/><Relationship Id="rId6" Type="http://schemas.openxmlformats.org/officeDocument/2006/relationships/tags" Target="../tags/tag23.xml"/><Relationship Id="rId11" Type="http://schemas.openxmlformats.org/officeDocument/2006/relationships/tags" Target="../tags/tag28.xml"/><Relationship Id="rId24" Type="http://schemas.openxmlformats.org/officeDocument/2006/relationships/oleObject" Target="../embeddings/oleObject3.bin"/><Relationship Id="rId5" Type="http://schemas.openxmlformats.org/officeDocument/2006/relationships/tags" Target="../tags/tag22.xml"/><Relationship Id="rId15" Type="http://schemas.openxmlformats.org/officeDocument/2006/relationships/tags" Target="../tags/tag32.xml"/><Relationship Id="rId23" Type="http://schemas.openxmlformats.org/officeDocument/2006/relationships/notesSlide" Target="../notesSlides/notesSlide1.xml"/><Relationship Id="rId10" Type="http://schemas.openxmlformats.org/officeDocument/2006/relationships/tags" Target="../tags/tag27.xml"/><Relationship Id="rId19" Type="http://schemas.openxmlformats.org/officeDocument/2006/relationships/tags" Target="../tags/tag36.xml"/><Relationship Id="rId4" Type="http://schemas.openxmlformats.org/officeDocument/2006/relationships/tags" Target="../tags/tag21.xml"/><Relationship Id="rId9" Type="http://schemas.openxmlformats.org/officeDocument/2006/relationships/tags" Target="../tags/tag26.xml"/><Relationship Id="rId14" Type="http://schemas.openxmlformats.org/officeDocument/2006/relationships/tags" Target="../tags/tag31.xml"/><Relationship Id="rId22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40.xml"/><Relationship Id="rId7" Type="http://schemas.openxmlformats.org/officeDocument/2006/relationships/notesSlide" Target="../notesSlides/notesSlide2.xml"/><Relationship Id="rId2" Type="http://schemas.openxmlformats.org/officeDocument/2006/relationships/tags" Target="../tags/tag39.xml"/><Relationship Id="rId1" Type="http://schemas.openxmlformats.org/officeDocument/2006/relationships/vmlDrawing" Target="../drawings/vmlDrawing4.vml"/><Relationship Id="rId6" Type="http://schemas.openxmlformats.org/officeDocument/2006/relationships/slideLayout" Target="../slideLayouts/slideLayout14.xml"/><Relationship Id="rId5" Type="http://schemas.openxmlformats.org/officeDocument/2006/relationships/tags" Target="../tags/tag42.xml"/><Relationship Id="rId4" Type="http://schemas.openxmlformats.org/officeDocument/2006/relationships/tags" Target="../tags/tag41.xml"/><Relationship Id="rId9" Type="http://schemas.openxmlformats.org/officeDocument/2006/relationships/image" Target="../media/image2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49.xml"/><Relationship Id="rId13" Type="http://schemas.openxmlformats.org/officeDocument/2006/relationships/tags" Target="../tags/tag54.xml"/><Relationship Id="rId18" Type="http://schemas.openxmlformats.org/officeDocument/2006/relationships/tags" Target="../tags/tag59.xml"/><Relationship Id="rId26" Type="http://schemas.openxmlformats.org/officeDocument/2006/relationships/tags" Target="../tags/tag67.xml"/><Relationship Id="rId3" Type="http://schemas.openxmlformats.org/officeDocument/2006/relationships/tags" Target="../tags/tag44.xml"/><Relationship Id="rId21" Type="http://schemas.openxmlformats.org/officeDocument/2006/relationships/tags" Target="../tags/tag62.xml"/><Relationship Id="rId34" Type="http://schemas.openxmlformats.org/officeDocument/2006/relationships/oleObject" Target="../embeddings/oleObject5.bin"/><Relationship Id="rId7" Type="http://schemas.openxmlformats.org/officeDocument/2006/relationships/tags" Target="../tags/tag48.xml"/><Relationship Id="rId12" Type="http://schemas.openxmlformats.org/officeDocument/2006/relationships/tags" Target="../tags/tag53.xml"/><Relationship Id="rId17" Type="http://schemas.openxmlformats.org/officeDocument/2006/relationships/tags" Target="../tags/tag58.xml"/><Relationship Id="rId25" Type="http://schemas.openxmlformats.org/officeDocument/2006/relationships/tags" Target="../tags/tag66.xml"/><Relationship Id="rId33" Type="http://schemas.openxmlformats.org/officeDocument/2006/relationships/notesSlide" Target="../notesSlides/notesSlide3.xml"/><Relationship Id="rId2" Type="http://schemas.openxmlformats.org/officeDocument/2006/relationships/tags" Target="../tags/tag43.xml"/><Relationship Id="rId16" Type="http://schemas.openxmlformats.org/officeDocument/2006/relationships/tags" Target="../tags/tag57.xml"/><Relationship Id="rId20" Type="http://schemas.openxmlformats.org/officeDocument/2006/relationships/tags" Target="../tags/tag61.xml"/><Relationship Id="rId29" Type="http://schemas.openxmlformats.org/officeDocument/2006/relationships/tags" Target="../tags/tag70.xml"/><Relationship Id="rId1" Type="http://schemas.openxmlformats.org/officeDocument/2006/relationships/vmlDrawing" Target="../drawings/vmlDrawing5.vml"/><Relationship Id="rId6" Type="http://schemas.openxmlformats.org/officeDocument/2006/relationships/tags" Target="../tags/tag47.xml"/><Relationship Id="rId11" Type="http://schemas.openxmlformats.org/officeDocument/2006/relationships/tags" Target="../tags/tag52.xml"/><Relationship Id="rId24" Type="http://schemas.openxmlformats.org/officeDocument/2006/relationships/tags" Target="../tags/tag65.xml"/><Relationship Id="rId32" Type="http://schemas.openxmlformats.org/officeDocument/2006/relationships/slideLayout" Target="../slideLayouts/slideLayout12.xml"/><Relationship Id="rId5" Type="http://schemas.openxmlformats.org/officeDocument/2006/relationships/tags" Target="../tags/tag46.xml"/><Relationship Id="rId15" Type="http://schemas.openxmlformats.org/officeDocument/2006/relationships/tags" Target="../tags/tag56.xml"/><Relationship Id="rId23" Type="http://schemas.openxmlformats.org/officeDocument/2006/relationships/tags" Target="../tags/tag64.xml"/><Relationship Id="rId28" Type="http://schemas.openxmlformats.org/officeDocument/2006/relationships/tags" Target="../tags/tag69.xml"/><Relationship Id="rId10" Type="http://schemas.openxmlformats.org/officeDocument/2006/relationships/tags" Target="../tags/tag51.xml"/><Relationship Id="rId19" Type="http://schemas.openxmlformats.org/officeDocument/2006/relationships/tags" Target="../tags/tag60.xml"/><Relationship Id="rId31" Type="http://schemas.openxmlformats.org/officeDocument/2006/relationships/tags" Target="../tags/tag72.xml"/><Relationship Id="rId4" Type="http://schemas.openxmlformats.org/officeDocument/2006/relationships/tags" Target="../tags/tag45.xml"/><Relationship Id="rId9" Type="http://schemas.openxmlformats.org/officeDocument/2006/relationships/tags" Target="../tags/tag50.xml"/><Relationship Id="rId14" Type="http://schemas.openxmlformats.org/officeDocument/2006/relationships/tags" Target="../tags/tag55.xml"/><Relationship Id="rId22" Type="http://schemas.openxmlformats.org/officeDocument/2006/relationships/tags" Target="../tags/tag63.xml"/><Relationship Id="rId27" Type="http://schemas.openxmlformats.org/officeDocument/2006/relationships/tags" Target="../tags/tag68.xml"/><Relationship Id="rId30" Type="http://schemas.openxmlformats.org/officeDocument/2006/relationships/tags" Target="../tags/tag71.xml"/><Relationship Id="rId35" Type="http://schemas.openxmlformats.org/officeDocument/2006/relationships/image" Target="../media/image2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79.xml"/><Relationship Id="rId13" Type="http://schemas.openxmlformats.org/officeDocument/2006/relationships/notesSlide" Target="../notesSlides/notesSlide4.xml"/><Relationship Id="rId3" Type="http://schemas.openxmlformats.org/officeDocument/2006/relationships/tags" Target="../tags/tag74.xml"/><Relationship Id="rId7" Type="http://schemas.openxmlformats.org/officeDocument/2006/relationships/tags" Target="../tags/tag78.xml"/><Relationship Id="rId12" Type="http://schemas.openxmlformats.org/officeDocument/2006/relationships/slideLayout" Target="../slideLayouts/slideLayout13.xml"/><Relationship Id="rId2" Type="http://schemas.openxmlformats.org/officeDocument/2006/relationships/tags" Target="../tags/tag73.xml"/><Relationship Id="rId1" Type="http://schemas.openxmlformats.org/officeDocument/2006/relationships/vmlDrawing" Target="../drawings/vmlDrawing6.vml"/><Relationship Id="rId6" Type="http://schemas.openxmlformats.org/officeDocument/2006/relationships/tags" Target="../tags/tag77.xml"/><Relationship Id="rId11" Type="http://schemas.openxmlformats.org/officeDocument/2006/relationships/tags" Target="../tags/tag82.xml"/><Relationship Id="rId5" Type="http://schemas.openxmlformats.org/officeDocument/2006/relationships/tags" Target="../tags/tag76.xml"/><Relationship Id="rId15" Type="http://schemas.openxmlformats.org/officeDocument/2006/relationships/image" Target="../media/image2.emf"/><Relationship Id="rId10" Type="http://schemas.openxmlformats.org/officeDocument/2006/relationships/tags" Target="../tags/tag81.xml"/><Relationship Id="rId4" Type="http://schemas.openxmlformats.org/officeDocument/2006/relationships/tags" Target="../tags/tag75.xml"/><Relationship Id="rId9" Type="http://schemas.openxmlformats.org/officeDocument/2006/relationships/tags" Target="../tags/tag80.xml"/><Relationship Id="rId14" Type="http://schemas.openxmlformats.org/officeDocument/2006/relationships/oleObject" Target="../embeddings/oleObject6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85.xml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87.xml"/><Relationship Id="rId4" Type="http://schemas.openxmlformats.org/officeDocument/2006/relationships/tags" Target="../tags/tag8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90.xml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92.xml"/><Relationship Id="rId4" Type="http://schemas.openxmlformats.org/officeDocument/2006/relationships/tags" Target="../tags/tag9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8" name="think-cell Slide" r:id="rId24" imgW="353" imgH="353" progId="TCLayout.ActiveDocument.1">
                  <p:embed/>
                </p:oleObj>
              </mc:Choice>
              <mc:Fallback>
                <p:oleObj name="think-cell Slide" r:id="rId24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extBox 4"/>
          <p:cNvSpPr txBox="1"/>
          <p:nvPr/>
        </p:nvSpPr>
        <p:spPr>
          <a:xfrm>
            <a:off x="11666479" y="6352790"/>
            <a:ext cx="4187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CH" b="1" dirty="0" smtClean="0">
                <a:solidFill>
                  <a:schemeClr val="accent1"/>
                </a:solidFill>
              </a:rPr>
              <a:t>01</a:t>
            </a:r>
            <a:endParaRPr lang="fr-CH" dirty="0"/>
          </a:p>
        </p:txBody>
      </p:sp>
      <p:sp>
        <p:nvSpPr>
          <p:cNvPr id="45" name="Freeform 115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10302240" y="6445134"/>
            <a:ext cx="1253913" cy="304081"/>
          </a:xfrm>
          <a:custGeom>
            <a:avLst/>
            <a:gdLst>
              <a:gd name="T0" fmla="*/ 165 w 165"/>
              <a:gd name="T1" fmla="*/ 25 h 45"/>
              <a:gd name="T2" fmla="*/ 165 w 165"/>
              <a:gd name="T3" fmla="*/ 41 h 45"/>
              <a:gd name="T4" fmla="*/ 160 w 165"/>
              <a:gd name="T5" fmla="*/ 45 h 45"/>
              <a:gd name="T6" fmla="*/ 25 w 165"/>
              <a:gd name="T7" fmla="*/ 45 h 45"/>
              <a:gd name="T8" fmla="*/ 7 w 165"/>
              <a:gd name="T9" fmla="*/ 38 h 45"/>
              <a:gd name="T10" fmla="*/ 0 w 165"/>
              <a:gd name="T11" fmla="*/ 19 h 45"/>
              <a:gd name="T12" fmla="*/ 0 w 165"/>
              <a:gd name="T13" fmla="*/ 4 h 45"/>
              <a:gd name="T14" fmla="*/ 4 w 165"/>
              <a:gd name="T15" fmla="*/ 0 h 45"/>
              <a:gd name="T16" fmla="*/ 139 w 165"/>
              <a:gd name="T17" fmla="*/ 0 h 45"/>
              <a:gd name="T18" fmla="*/ 158 w 165"/>
              <a:gd name="T19" fmla="*/ 7 h 45"/>
              <a:gd name="T20" fmla="*/ 165 w 165"/>
              <a:gd name="T21" fmla="*/ 25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65" h="45">
                <a:moveTo>
                  <a:pt x="165" y="25"/>
                </a:moveTo>
                <a:cubicBezTo>
                  <a:pt x="165" y="41"/>
                  <a:pt x="165" y="41"/>
                  <a:pt x="165" y="41"/>
                </a:cubicBezTo>
                <a:cubicBezTo>
                  <a:pt x="165" y="44"/>
                  <a:pt x="163" y="45"/>
                  <a:pt x="160" y="45"/>
                </a:cubicBezTo>
                <a:cubicBezTo>
                  <a:pt x="25" y="45"/>
                  <a:pt x="25" y="45"/>
                  <a:pt x="25" y="45"/>
                </a:cubicBezTo>
                <a:cubicBezTo>
                  <a:pt x="17" y="45"/>
                  <a:pt x="11" y="43"/>
                  <a:pt x="7" y="38"/>
                </a:cubicBezTo>
                <a:cubicBezTo>
                  <a:pt x="2" y="34"/>
                  <a:pt x="0" y="28"/>
                  <a:pt x="0" y="19"/>
                </a:cubicBezTo>
                <a:cubicBezTo>
                  <a:pt x="0" y="4"/>
                  <a:pt x="0" y="4"/>
                  <a:pt x="0" y="4"/>
                </a:cubicBezTo>
                <a:cubicBezTo>
                  <a:pt x="0" y="1"/>
                  <a:pt x="1" y="0"/>
                  <a:pt x="4" y="0"/>
                </a:cubicBezTo>
                <a:cubicBezTo>
                  <a:pt x="139" y="0"/>
                  <a:pt x="139" y="0"/>
                  <a:pt x="139" y="0"/>
                </a:cubicBezTo>
                <a:cubicBezTo>
                  <a:pt x="147" y="0"/>
                  <a:pt x="153" y="2"/>
                  <a:pt x="158" y="7"/>
                </a:cubicBezTo>
                <a:cubicBezTo>
                  <a:pt x="162" y="11"/>
                  <a:pt x="165" y="17"/>
                  <a:pt x="165" y="25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CH" sz="1100" dirty="0" smtClean="0"/>
              <a:t>Sommaire</a:t>
            </a:r>
            <a:endParaRPr lang="fr-CH" sz="1100" dirty="0"/>
          </a:p>
        </p:txBody>
      </p:sp>
      <p:sp>
        <p:nvSpPr>
          <p:cNvPr id="31" name="Title 4">
            <a:extLst>
              <a:ext uri="{FF2B5EF4-FFF2-40B4-BE49-F238E27FC236}">
                <a16:creationId xmlns:a16="http://schemas.microsoft.com/office/drawing/2014/main" id="{374B7ED6-666C-4C9A-8B7A-DBBDF0ED2B59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623888" y="730800"/>
            <a:ext cx="10944225" cy="325952"/>
          </a:xfrm>
        </p:spPr>
        <p:txBody>
          <a:bodyPr>
            <a:normAutofit fontScale="90000"/>
          </a:bodyPr>
          <a:lstStyle/>
          <a:p>
            <a:r>
              <a:rPr lang="fr-CH" dirty="0" smtClean="0"/>
              <a:t>Sommaire</a:t>
            </a:r>
            <a:endParaRPr lang="en-US" dirty="0"/>
          </a:p>
        </p:txBody>
      </p:sp>
      <p:sp>
        <p:nvSpPr>
          <p:cNvPr id="32" name="ZoneTexte 31">
            <a:extLst>
              <a:ext uri="{FF2B5EF4-FFF2-40B4-BE49-F238E27FC236}">
                <a16:creationId xmlns:a16="http://schemas.microsoft.com/office/drawing/2014/main" id="{E32D746F-9A2D-4398-BE1E-3699C34DCB73}"/>
              </a:ext>
            </a:extLst>
          </p:cNvPr>
          <p:cNvSpPr txBox="1"/>
          <p:nvPr/>
        </p:nvSpPr>
        <p:spPr>
          <a:xfrm>
            <a:off x="6916849" y="539833"/>
            <a:ext cx="457925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CH" sz="4000" i="1" dirty="0" smtClean="0">
                <a:solidFill>
                  <a:srgbClr val="FFC000"/>
                </a:solidFill>
                <a:latin typeface="Arial Black" panose="020B0A04020102020204" pitchFamily="34" charset="0"/>
              </a:rPr>
              <a:t>Partie 0 </a:t>
            </a:r>
            <a:r>
              <a:rPr lang="fr-CH" sz="4000" dirty="0" smtClean="0">
                <a:solidFill>
                  <a:srgbClr val="FFC000"/>
                </a:solidFill>
                <a:latin typeface="Arial Black" panose="020B0A04020102020204" pitchFamily="34" charset="0"/>
              </a:rPr>
              <a:t>/</a:t>
            </a:r>
            <a:r>
              <a:rPr lang="fr-CH" sz="4000" i="1" dirty="0" smtClean="0">
                <a:solidFill>
                  <a:srgbClr val="FFC000"/>
                </a:solidFill>
                <a:latin typeface="Arial Black" panose="020B0A04020102020204" pitchFamily="34" charset="0"/>
              </a:rPr>
              <a:t>8</a:t>
            </a:r>
            <a:endParaRPr lang="fr-CH" sz="4000" i="1" dirty="0">
              <a:solidFill>
                <a:srgbClr val="FFC000"/>
              </a:solidFill>
              <a:latin typeface="Arial Black" panose="020B0A04020102020204" pitchFamily="34" charset="0"/>
            </a:endParaRPr>
          </a:p>
        </p:txBody>
      </p:sp>
      <p:sp>
        <p:nvSpPr>
          <p:cNvPr id="7" name="Line 64"/>
          <p:cNvSpPr>
            <a:spLocks noChangeShapeType="1"/>
          </p:cNvSpPr>
          <p:nvPr>
            <p:custDataLst>
              <p:tags r:id="rId6"/>
            </p:custDataLst>
          </p:nvPr>
        </p:nvSpPr>
        <p:spPr bwMode="gray">
          <a:xfrm flipV="1">
            <a:off x="1687421" y="2598583"/>
            <a:ext cx="3672000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CH" dirty="0">
              <a:solidFill>
                <a:srgbClr val="000000"/>
              </a:solidFill>
            </a:endParaRPr>
          </a:p>
        </p:txBody>
      </p:sp>
      <p:sp>
        <p:nvSpPr>
          <p:cNvPr id="8" name="TextBox 97"/>
          <p:cNvSpPr txBox="1"/>
          <p:nvPr>
            <p:custDataLst>
              <p:tags r:id="rId7"/>
            </p:custDataLst>
          </p:nvPr>
        </p:nvSpPr>
        <p:spPr bwMode="gray">
          <a:xfrm>
            <a:off x="1687421" y="2022412"/>
            <a:ext cx="432048" cy="738208"/>
          </a:xfrm>
          <a:prstGeom prst="rect">
            <a:avLst/>
          </a:prstGeom>
          <a:solidFill>
            <a:schemeClr val="bg1"/>
          </a:solidFill>
          <a:ln w="19050" cap="rnd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44000" rIns="36000" bIns="0" rtlCol="0" anchor="ctr"/>
          <a:lstStyle>
            <a:defPPr>
              <a:defRPr lang="en-US"/>
            </a:defPPr>
            <a:lvl1pPr algn="ctr">
              <a:defRPr sz="1200">
                <a:solidFill>
                  <a:schemeClr val="accen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fr-CH" sz="3600" dirty="0">
                <a:solidFill>
                  <a:schemeClr val="accent4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9" name="Line 64"/>
          <p:cNvSpPr>
            <a:spLocks noChangeShapeType="1"/>
          </p:cNvSpPr>
          <p:nvPr>
            <p:custDataLst>
              <p:tags r:id="rId8"/>
            </p:custDataLst>
          </p:nvPr>
        </p:nvSpPr>
        <p:spPr bwMode="gray">
          <a:xfrm flipV="1">
            <a:off x="1687421" y="3336791"/>
            <a:ext cx="3672000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CH" dirty="0">
              <a:solidFill>
                <a:srgbClr val="000000"/>
              </a:solidFill>
            </a:endParaRPr>
          </a:p>
        </p:txBody>
      </p:sp>
      <p:sp>
        <p:nvSpPr>
          <p:cNvPr id="10" name="TextBox 97"/>
          <p:cNvSpPr txBox="1"/>
          <p:nvPr>
            <p:custDataLst>
              <p:tags r:id="rId9"/>
            </p:custDataLst>
          </p:nvPr>
        </p:nvSpPr>
        <p:spPr bwMode="gray">
          <a:xfrm>
            <a:off x="1687421" y="2760620"/>
            <a:ext cx="432048" cy="738208"/>
          </a:xfrm>
          <a:prstGeom prst="rect">
            <a:avLst/>
          </a:prstGeom>
          <a:solidFill>
            <a:schemeClr val="bg1"/>
          </a:solidFill>
          <a:ln w="19050" cap="rnd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44000" rIns="36000" bIns="0" rtlCol="0" anchor="ctr"/>
          <a:lstStyle>
            <a:defPPr>
              <a:defRPr lang="en-US"/>
            </a:defPPr>
            <a:lvl1pPr algn="ctr">
              <a:defRPr sz="1200">
                <a:solidFill>
                  <a:schemeClr val="accen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fr-CH" sz="3600" dirty="0">
                <a:solidFill>
                  <a:schemeClr val="accent4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11" name="Line 64"/>
          <p:cNvSpPr>
            <a:spLocks noChangeShapeType="1"/>
          </p:cNvSpPr>
          <p:nvPr>
            <p:custDataLst>
              <p:tags r:id="rId10"/>
            </p:custDataLst>
          </p:nvPr>
        </p:nvSpPr>
        <p:spPr bwMode="gray">
          <a:xfrm flipV="1">
            <a:off x="1687421" y="4074999"/>
            <a:ext cx="3672000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CH" dirty="0">
              <a:solidFill>
                <a:srgbClr val="000000"/>
              </a:solidFill>
            </a:endParaRPr>
          </a:p>
        </p:txBody>
      </p:sp>
      <p:sp>
        <p:nvSpPr>
          <p:cNvPr id="12" name="TextBox 97"/>
          <p:cNvSpPr txBox="1"/>
          <p:nvPr>
            <p:custDataLst>
              <p:tags r:id="rId11"/>
            </p:custDataLst>
          </p:nvPr>
        </p:nvSpPr>
        <p:spPr bwMode="gray">
          <a:xfrm>
            <a:off x="1687421" y="3498828"/>
            <a:ext cx="432048" cy="738208"/>
          </a:xfrm>
          <a:prstGeom prst="rect">
            <a:avLst/>
          </a:prstGeom>
          <a:solidFill>
            <a:schemeClr val="bg1"/>
          </a:solidFill>
          <a:ln w="19050" cap="rnd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44000" rIns="36000" bIns="0" rtlCol="0" anchor="ctr"/>
          <a:lstStyle>
            <a:defPPr>
              <a:defRPr lang="en-US"/>
            </a:defPPr>
            <a:lvl1pPr algn="ctr">
              <a:defRPr sz="1200">
                <a:solidFill>
                  <a:schemeClr val="accen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fr-CH" sz="3600" dirty="0" smtClean="0">
                <a:solidFill>
                  <a:schemeClr val="accent4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3</a:t>
            </a:r>
            <a:endParaRPr lang="fr-CH" sz="3600" dirty="0">
              <a:solidFill>
                <a:schemeClr val="accent4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Line 64"/>
          <p:cNvSpPr>
            <a:spLocks noChangeShapeType="1"/>
          </p:cNvSpPr>
          <p:nvPr>
            <p:custDataLst>
              <p:tags r:id="rId12"/>
            </p:custDataLst>
          </p:nvPr>
        </p:nvSpPr>
        <p:spPr bwMode="gray">
          <a:xfrm flipV="1">
            <a:off x="1687421" y="4813207"/>
            <a:ext cx="3672000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CH" dirty="0">
              <a:solidFill>
                <a:srgbClr val="000000"/>
              </a:solidFill>
            </a:endParaRPr>
          </a:p>
        </p:txBody>
      </p:sp>
      <p:sp>
        <p:nvSpPr>
          <p:cNvPr id="14" name="TextBox 97"/>
          <p:cNvSpPr txBox="1"/>
          <p:nvPr>
            <p:custDataLst>
              <p:tags r:id="rId13"/>
            </p:custDataLst>
          </p:nvPr>
        </p:nvSpPr>
        <p:spPr bwMode="gray">
          <a:xfrm>
            <a:off x="1687421" y="4237036"/>
            <a:ext cx="432048" cy="738208"/>
          </a:xfrm>
          <a:prstGeom prst="rect">
            <a:avLst/>
          </a:prstGeom>
          <a:solidFill>
            <a:schemeClr val="bg1"/>
          </a:solidFill>
          <a:ln w="19050" cap="rnd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44000" rIns="36000" bIns="0" rtlCol="0" anchor="ctr"/>
          <a:lstStyle>
            <a:defPPr>
              <a:defRPr lang="en-US"/>
            </a:defPPr>
            <a:lvl1pPr algn="ctr">
              <a:defRPr sz="1200">
                <a:solidFill>
                  <a:schemeClr val="accen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fr-CH" sz="3600" dirty="0">
                <a:solidFill>
                  <a:schemeClr val="accent4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15" name="Line 64"/>
          <p:cNvSpPr>
            <a:spLocks noChangeShapeType="1"/>
          </p:cNvSpPr>
          <p:nvPr>
            <p:custDataLst>
              <p:tags r:id="rId14"/>
            </p:custDataLst>
          </p:nvPr>
        </p:nvSpPr>
        <p:spPr bwMode="gray">
          <a:xfrm flipV="1">
            <a:off x="6763373" y="2598583"/>
            <a:ext cx="3672000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CH" dirty="0">
              <a:solidFill>
                <a:srgbClr val="000000"/>
              </a:solidFill>
            </a:endParaRPr>
          </a:p>
        </p:txBody>
      </p:sp>
      <p:sp>
        <p:nvSpPr>
          <p:cNvPr id="16" name="TextBox 97"/>
          <p:cNvSpPr txBox="1"/>
          <p:nvPr>
            <p:custDataLst>
              <p:tags r:id="rId15"/>
            </p:custDataLst>
          </p:nvPr>
        </p:nvSpPr>
        <p:spPr bwMode="gray">
          <a:xfrm>
            <a:off x="6763373" y="2022412"/>
            <a:ext cx="432048" cy="738208"/>
          </a:xfrm>
          <a:prstGeom prst="rect">
            <a:avLst/>
          </a:prstGeom>
          <a:solidFill>
            <a:schemeClr val="bg1"/>
          </a:solidFill>
          <a:ln w="19050" cap="rnd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44000" rIns="36000" bIns="0" rtlCol="0" anchor="ctr"/>
          <a:lstStyle>
            <a:defPPr>
              <a:defRPr lang="en-US"/>
            </a:defPPr>
            <a:lvl1pPr algn="ctr">
              <a:defRPr sz="1200">
                <a:solidFill>
                  <a:schemeClr val="accen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fr-CH" sz="3600" dirty="0" smtClean="0">
                <a:solidFill>
                  <a:schemeClr val="accent4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5</a:t>
            </a:r>
            <a:endParaRPr lang="fr-CH" sz="3600" dirty="0">
              <a:solidFill>
                <a:schemeClr val="accent4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Line 64"/>
          <p:cNvSpPr>
            <a:spLocks noChangeShapeType="1"/>
          </p:cNvSpPr>
          <p:nvPr>
            <p:custDataLst>
              <p:tags r:id="rId16"/>
            </p:custDataLst>
          </p:nvPr>
        </p:nvSpPr>
        <p:spPr bwMode="gray">
          <a:xfrm flipV="1">
            <a:off x="6763373" y="3336791"/>
            <a:ext cx="3672000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CH" dirty="0">
              <a:solidFill>
                <a:srgbClr val="000000"/>
              </a:solidFill>
            </a:endParaRPr>
          </a:p>
        </p:txBody>
      </p:sp>
      <p:sp>
        <p:nvSpPr>
          <p:cNvPr id="18" name="TextBox 97"/>
          <p:cNvSpPr txBox="1"/>
          <p:nvPr>
            <p:custDataLst>
              <p:tags r:id="rId17"/>
            </p:custDataLst>
          </p:nvPr>
        </p:nvSpPr>
        <p:spPr bwMode="gray">
          <a:xfrm>
            <a:off x="6763373" y="2760620"/>
            <a:ext cx="432048" cy="738208"/>
          </a:xfrm>
          <a:prstGeom prst="rect">
            <a:avLst/>
          </a:prstGeom>
          <a:solidFill>
            <a:schemeClr val="bg1"/>
          </a:solidFill>
          <a:ln w="19050" cap="rnd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44000" rIns="36000" bIns="0" rtlCol="0" anchor="ctr"/>
          <a:lstStyle>
            <a:defPPr>
              <a:defRPr lang="en-US"/>
            </a:defPPr>
            <a:lvl1pPr algn="ctr">
              <a:defRPr sz="1200">
                <a:solidFill>
                  <a:schemeClr val="accen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fr-CH" sz="3600" dirty="0" smtClean="0">
                <a:solidFill>
                  <a:schemeClr val="accent4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6</a:t>
            </a:r>
            <a:endParaRPr lang="fr-CH" sz="3600" dirty="0">
              <a:solidFill>
                <a:schemeClr val="accent4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Line 64"/>
          <p:cNvSpPr>
            <a:spLocks noChangeShapeType="1"/>
          </p:cNvSpPr>
          <p:nvPr>
            <p:custDataLst>
              <p:tags r:id="rId18"/>
            </p:custDataLst>
          </p:nvPr>
        </p:nvSpPr>
        <p:spPr bwMode="gray">
          <a:xfrm flipV="1">
            <a:off x="6763373" y="4074999"/>
            <a:ext cx="3672000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CH" dirty="0">
              <a:solidFill>
                <a:srgbClr val="000000"/>
              </a:solidFill>
            </a:endParaRPr>
          </a:p>
        </p:txBody>
      </p:sp>
      <p:sp>
        <p:nvSpPr>
          <p:cNvPr id="20" name="TextBox 97"/>
          <p:cNvSpPr txBox="1"/>
          <p:nvPr>
            <p:custDataLst>
              <p:tags r:id="rId19"/>
            </p:custDataLst>
          </p:nvPr>
        </p:nvSpPr>
        <p:spPr bwMode="gray">
          <a:xfrm>
            <a:off x="6763373" y="3498828"/>
            <a:ext cx="432048" cy="738208"/>
          </a:xfrm>
          <a:prstGeom prst="rect">
            <a:avLst/>
          </a:prstGeom>
          <a:solidFill>
            <a:schemeClr val="bg1"/>
          </a:solidFill>
          <a:ln w="19050" cap="rnd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44000" rIns="36000" bIns="0" rtlCol="0" anchor="ctr"/>
          <a:lstStyle>
            <a:defPPr>
              <a:defRPr lang="en-US"/>
            </a:defPPr>
            <a:lvl1pPr algn="ctr">
              <a:defRPr sz="1200">
                <a:solidFill>
                  <a:schemeClr val="accen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fr-CH" sz="3600" dirty="0">
                <a:solidFill>
                  <a:schemeClr val="accent4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7</a:t>
            </a:r>
          </a:p>
        </p:txBody>
      </p:sp>
      <p:sp>
        <p:nvSpPr>
          <p:cNvPr id="21" name="Line 64"/>
          <p:cNvSpPr>
            <a:spLocks noChangeShapeType="1"/>
          </p:cNvSpPr>
          <p:nvPr>
            <p:custDataLst>
              <p:tags r:id="rId20"/>
            </p:custDataLst>
          </p:nvPr>
        </p:nvSpPr>
        <p:spPr bwMode="gray">
          <a:xfrm flipV="1">
            <a:off x="6763373" y="4813207"/>
            <a:ext cx="3672000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CH" dirty="0">
              <a:solidFill>
                <a:srgbClr val="000000"/>
              </a:solidFill>
            </a:endParaRPr>
          </a:p>
        </p:txBody>
      </p:sp>
      <p:sp>
        <p:nvSpPr>
          <p:cNvPr id="22" name="TextBox 97"/>
          <p:cNvSpPr txBox="1"/>
          <p:nvPr>
            <p:custDataLst>
              <p:tags r:id="rId21"/>
            </p:custDataLst>
          </p:nvPr>
        </p:nvSpPr>
        <p:spPr bwMode="gray">
          <a:xfrm>
            <a:off x="6763373" y="4237036"/>
            <a:ext cx="432048" cy="738208"/>
          </a:xfrm>
          <a:prstGeom prst="rect">
            <a:avLst/>
          </a:prstGeom>
          <a:solidFill>
            <a:schemeClr val="bg1"/>
          </a:solidFill>
          <a:ln w="19050" cap="rnd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44000" rIns="36000" bIns="0" rtlCol="0" anchor="ctr"/>
          <a:lstStyle>
            <a:defPPr>
              <a:defRPr lang="en-US"/>
            </a:defPPr>
            <a:lvl1pPr algn="ctr">
              <a:defRPr sz="1200">
                <a:solidFill>
                  <a:schemeClr val="accen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fr-CH" sz="3600" dirty="0" smtClean="0">
                <a:solidFill>
                  <a:schemeClr val="accent4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8</a:t>
            </a:r>
            <a:endParaRPr lang="fr-CH" sz="3600" dirty="0">
              <a:solidFill>
                <a:schemeClr val="accent4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ZoneTexte 2"/>
          <p:cNvSpPr txBox="1"/>
          <p:nvPr/>
        </p:nvSpPr>
        <p:spPr>
          <a:xfrm>
            <a:off x="2490926" y="2123674"/>
            <a:ext cx="206498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CH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Introduction</a:t>
            </a:r>
            <a:endParaRPr lang="fr-CH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ZoneTexte 33"/>
          <p:cNvSpPr txBox="1"/>
          <p:nvPr/>
        </p:nvSpPr>
        <p:spPr>
          <a:xfrm>
            <a:off x="2490925" y="2868114"/>
            <a:ext cx="178286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CH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Les Outils</a:t>
            </a:r>
            <a:endParaRPr lang="fr-CH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ZoneTexte 34"/>
          <p:cNvSpPr txBox="1"/>
          <p:nvPr/>
        </p:nvSpPr>
        <p:spPr>
          <a:xfrm>
            <a:off x="2490925" y="3606322"/>
            <a:ext cx="162416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CH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Le Projet</a:t>
            </a:r>
            <a:endParaRPr lang="fr-CH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ZoneTexte 35"/>
          <p:cNvSpPr txBox="1"/>
          <p:nvPr/>
        </p:nvSpPr>
        <p:spPr>
          <a:xfrm>
            <a:off x="2490925" y="4344530"/>
            <a:ext cx="176362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CH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Réussites</a:t>
            </a:r>
            <a:endParaRPr lang="fr-CH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ZoneTexte 37"/>
          <p:cNvSpPr txBox="1"/>
          <p:nvPr/>
        </p:nvSpPr>
        <p:spPr>
          <a:xfrm>
            <a:off x="7566880" y="2123674"/>
            <a:ext cx="136287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CH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Echecs</a:t>
            </a:r>
            <a:endParaRPr lang="fr-CH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ZoneTexte 38"/>
          <p:cNvSpPr txBox="1"/>
          <p:nvPr/>
        </p:nvSpPr>
        <p:spPr>
          <a:xfrm>
            <a:off x="7566879" y="2868114"/>
            <a:ext cx="212429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CH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Planification</a:t>
            </a:r>
            <a:endParaRPr lang="fr-CH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ZoneTexte 39"/>
          <p:cNvSpPr txBox="1"/>
          <p:nvPr/>
        </p:nvSpPr>
        <p:spPr>
          <a:xfrm>
            <a:off x="7566879" y="3606322"/>
            <a:ext cx="196560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CH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Conclusion</a:t>
            </a:r>
            <a:endParaRPr lang="fr-CH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ZoneTexte 40"/>
          <p:cNvSpPr txBox="1"/>
          <p:nvPr/>
        </p:nvSpPr>
        <p:spPr>
          <a:xfrm>
            <a:off x="7566879" y="4344530"/>
            <a:ext cx="270458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CH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Remerciements</a:t>
            </a:r>
            <a:endParaRPr lang="fr-CH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0646274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1" grpId="0" animBg="1"/>
      <p:bldP spid="22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1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1666479" y="6352790"/>
            <a:ext cx="4187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CH" b="1" dirty="0" smtClean="0">
                <a:solidFill>
                  <a:schemeClr val="accent1"/>
                </a:solidFill>
              </a:rPr>
              <a:t>04</a:t>
            </a:r>
            <a:endParaRPr lang="fr-CH" dirty="0"/>
          </a:p>
        </p:txBody>
      </p:sp>
      <p:sp>
        <p:nvSpPr>
          <p:cNvPr id="31" name="Freeform 115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10612837" y="6445134"/>
            <a:ext cx="943316" cy="304081"/>
          </a:xfrm>
          <a:custGeom>
            <a:avLst/>
            <a:gdLst>
              <a:gd name="T0" fmla="*/ 165 w 165"/>
              <a:gd name="T1" fmla="*/ 25 h 45"/>
              <a:gd name="T2" fmla="*/ 165 w 165"/>
              <a:gd name="T3" fmla="*/ 41 h 45"/>
              <a:gd name="T4" fmla="*/ 160 w 165"/>
              <a:gd name="T5" fmla="*/ 45 h 45"/>
              <a:gd name="T6" fmla="*/ 25 w 165"/>
              <a:gd name="T7" fmla="*/ 45 h 45"/>
              <a:gd name="T8" fmla="*/ 7 w 165"/>
              <a:gd name="T9" fmla="*/ 38 h 45"/>
              <a:gd name="T10" fmla="*/ 0 w 165"/>
              <a:gd name="T11" fmla="*/ 19 h 45"/>
              <a:gd name="T12" fmla="*/ 0 w 165"/>
              <a:gd name="T13" fmla="*/ 4 h 45"/>
              <a:gd name="T14" fmla="*/ 4 w 165"/>
              <a:gd name="T15" fmla="*/ 0 h 45"/>
              <a:gd name="T16" fmla="*/ 139 w 165"/>
              <a:gd name="T17" fmla="*/ 0 h 45"/>
              <a:gd name="T18" fmla="*/ 158 w 165"/>
              <a:gd name="T19" fmla="*/ 7 h 45"/>
              <a:gd name="T20" fmla="*/ 165 w 165"/>
              <a:gd name="T21" fmla="*/ 25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65" h="45">
                <a:moveTo>
                  <a:pt x="165" y="25"/>
                </a:moveTo>
                <a:cubicBezTo>
                  <a:pt x="165" y="41"/>
                  <a:pt x="165" y="41"/>
                  <a:pt x="165" y="41"/>
                </a:cubicBezTo>
                <a:cubicBezTo>
                  <a:pt x="165" y="44"/>
                  <a:pt x="163" y="45"/>
                  <a:pt x="160" y="45"/>
                </a:cubicBezTo>
                <a:cubicBezTo>
                  <a:pt x="25" y="45"/>
                  <a:pt x="25" y="45"/>
                  <a:pt x="25" y="45"/>
                </a:cubicBezTo>
                <a:cubicBezTo>
                  <a:pt x="17" y="45"/>
                  <a:pt x="11" y="43"/>
                  <a:pt x="7" y="38"/>
                </a:cubicBezTo>
                <a:cubicBezTo>
                  <a:pt x="2" y="34"/>
                  <a:pt x="0" y="28"/>
                  <a:pt x="0" y="19"/>
                </a:cubicBezTo>
                <a:cubicBezTo>
                  <a:pt x="0" y="4"/>
                  <a:pt x="0" y="4"/>
                  <a:pt x="0" y="4"/>
                </a:cubicBezTo>
                <a:cubicBezTo>
                  <a:pt x="0" y="1"/>
                  <a:pt x="1" y="0"/>
                  <a:pt x="4" y="0"/>
                </a:cubicBezTo>
                <a:cubicBezTo>
                  <a:pt x="139" y="0"/>
                  <a:pt x="139" y="0"/>
                  <a:pt x="139" y="0"/>
                </a:cubicBezTo>
                <a:cubicBezTo>
                  <a:pt x="147" y="0"/>
                  <a:pt x="153" y="2"/>
                  <a:pt x="158" y="7"/>
                </a:cubicBezTo>
                <a:cubicBezTo>
                  <a:pt x="162" y="11"/>
                  <a:pt x="165" y="17"/>
                  <a:pt x="165" y="25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 sz="1100" dirty="0"/>
              <a:t>Introduction</a:t>
            </a:r>
            <a:endParaRPr lang="fr-CH" sz="1100" dirty="0"/>
          </a:p>
        </p:txBody>
      </p:sp>
      <p:sp>
        <p:nvSpPr>
          <p:cNvPr id="11" name="Title 4">
            <a:extLst>
              <a:ext uri="{FF2B5EF4-FFF2-40B4-BE49-F238E27FC236}">
                <a16:creationId xmlns:a16="http://schemas.microsoft.com/office/drawing/2014/main" id="{374B7ED6-666C-4C9A-8B7A-DBBDF0ED2B59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623888" y="730800"/>
            <a:ext cx="10944225" cy="325952"/>
          </a:xfrm>
        </p:spPr>
        <p:txBody>
          <a:bodyPr>
            <a:normAutofit fontScale="90000"/>
          </a:bodyPr>
          <a:lstStyle/>
          <a:p>
            <a:r>
              <a:rPr lang="fr-CH" dirty="0" smtClean="0"/>
              <a:t>Sommaire</a:t>
            </a:r>
            <a:endParaRPr lang="en-US" dirty="0"/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E32D746F-9A2D-4398-BE1E-3699C34DCB73}"/>
              </a:ext>
            </a:extLst>
          </p:cNvPr>
          <p:cNvSpPr txBox="1"/>
          <p:nvPr/>
        </p:nvSpPr>
        <p:spPr>
          <a:xfrm>
            <a:off x="6916849" y="539833"/>
            <a:ext cx="457925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CH" sz="4000" i="1" dirty="0" smtClean="0">
                <a:solidFill>
                  <a:srgbClr val="FFC000"/>
                </a:solidFill>
                <a:latin typeface="Arial Black" panose="020B0A04020102020204" pitchFamily="34" charset="0"/>
              </a:rPr>
              <a:t>Partie</a:t>
            </a:r>
            <a:endParaRPr lang="fr-CH" sz="4000" i="1" dirty="0">
              <a:solidFill>
                <a:srgbClr val="FFC000"/>
              </a:solidFill>
              <a:latin typeface="Arial Black" panose="020B0A0402010202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5399545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7" name="Object 66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5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67" name="Object 66" hidden="1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Line 64"/>
          <p:cNvSpPr>
            <a:spLocks noChangeShapeType="1"/>
          </p:cNvSpPr>
          <p:nvPr>
            <p:custDataLst>
              <p:tags r:id="rId4"/>
            </p:custDataLst>
          </p:nvPr>
        </p:nvSpPr>
        <p:spPr bwMode="gray">
          <a:xfrm flipV="1">
            <a:off x="623888" y="1700808"/>
            <a:ext cx="3672000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CH" dirty="0">
              <a:solidFill>
                <a:srgbClr val="000000"/>
              </a:solidFill>
            </a:endParaRPr>
          </a:p>
        </p:txBody>
      </p:sp>
      <p:sp>
        <p:nvSpPr>
          <p:cNvPr id="61" name="Line 64"/>
          <p:cNvSpPr>
            <a:spLocks noChangeShapeType="1"/>
          </p:cNvSpPr>
          <p:nvPr>
            <p:custDataLst>
              <p:tags r:id="rId5"/>
            </p:custDataLst>
          </p:nvPr>
        </p:nvSpPr>
        <p:spPr bwMode="gray">
          <a:xfrm flipV="1">
            <a:off x="623888" y="3284984"/>
            <a:ext cx="2808000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CH" dirty="0">
              <a:solidFill>
                <a:srgbClr val="000000"/>
              </a:solidFill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5049788" y="2743060"/>
            <a:ext cx="2088000" cy="2088000"/>
            <a:chOff x="5049788" y="2743060"/>
            <a:chExt cx="2088000" cy="2088000"/>
          </a:xfrm>
        </p:grpSpPr>
        <p:sp>
          <p:nvSpPr>
            <p:cNvPr id="66" name="Freeform 5"/>
            <p:cNvSpPr>
              <a:spLocks/>
            </p:cNvSpPr>
            <p:nvPr>
              <p:custDataLst>
                <p:tags r:id="rId30"/>
              </p:custDataLst>
            </p:nvPr>
          </p:nvSpPr>
          <p:spPr bwMode="gray">
            <a:xfrm>
              <a:off x="5049788" y="2743060"/>
              <a:ext cx="2088000" cy="2088000"/>
            </a:xfrm>
            <a:custGeom>
              <a:avLst/>
              <a:gdLst>
                <a:gd name="T0" fmla="*/ 662 w 699"/>
                <a:gd name="T1" fmla="*/ 347 h 691"/>
                <a:gd name="T2" fmla="*/ 691 w 699"/>
                <a:gd name="T3" fmla="*/ 320 h 691"/>
                <a:gd name="T4" fmla="*/ 684 w 699"/>
                <a:gd name="T5" fmla="*/ 269 h 691"/>
                <a:gd name="T6" fmla="*/ 645 w 699"/>
                <a:gd name="T7" fmla="*/ 243 h 691"/>
                <a:gd name="T8" fmla="*/ 663 w 699"/>
                <a:gd name="T9" fmla="*/ 188 h 691"/>
                <a:gd name="T10" fmla="*/ 644 w 699"/>
                <a:gd name="T11" fmla="*/ 171 h 691"/>
                <a:gd name="T12" fmla="*/ 602 w 699"/>
                <a:gd name="T13" fmla="*/ 165 h 691"/>
                <a:gd name="T14" fmla="*/ 606 w 699"/>
                <a:gd name="T15" fmla="*/ 109 h 691"/>
                <a:gd name="T16" fmla="*/ 540 w 699"/>
                <a:gd name="T17" fmla="*/ 101 h 691"/>
                <a:gd name="T18" fmla="*/ 528 w 699"/>
                <a:gd name="T19" fmla="*/ 93 h 691"/>
                <a:gd name="T20" fmla="*/ 509 w 699"/>
                <a:gd name="T21" fmla="*/ 37 h 691"/>
                <a:gd name="T22" fmla="*/ 484 w 699"/>
                <a:gd name="T23" fmla="*/ 34 h 691"/>
                <a:gd name="T24" fmla="*/ 447 w 699"/>
                <a:gd name="T25" fmla="*/ 52 h 691"/>
                <a:gd name="T26" fmla="*/ 417 w 699"/>
                <a:gd name="T27" fmla="*/ 6 h 691"/>
                <a:gd name="T28" fmla="*/ 394 w 699"/>
                <a:gd name="T29" fmla="*/ 1 h 691"/>
                <a:gd name="T30" fmla="*/ 352 w 699"/>
                <a:gd name="T31" fmla="*/ 37 h 691"/>
                <a:gd name="T32" fmla="*/ 322 w 699"/>
                <a:gd name="T33" fmla="*/ 8 h 691"/>
                <a:gd name="T34" fmla="*/ 273 w 699"/>
                <a:gd name="T35" fmla="*/ 16 h 691"/>
                <a:gd name="T36" fmla="*/ 253 w 699"/>
                <a:gd name="T37" fmla="*/ 52 h 691"/>
                <a:gd name="T38" fmla="*/ 217 w 699"/>
                <a:gd name="T39" fmla="*/ 34 h 691"/>
                <a:gd name="T40" fmla="*/ 192 w 699"/>
                <a:gd name="T41" fmla="*/ 37 h 691"/>
                <a:gd name="T42" fmla="*/ 174 w 699"/>
                <a:gd name="T43" fmla="*/ 93 h 691"/>
                <a:gd name="T44" fmla="*/ 110 w 699"/>
                <a:gd name="T45" fmla="*/ 94 h 691"/>
                <a:gd name="T46" fmla="*/ 102 w 699"/>
                <a:gd name="T47" fmla="*/ 159 h 691"/>
                <a:gd name="T48" fmla="*/ 94 w 699"/>
                <a:gd name="T49" fmla="*/ 171 h 691"/>
                <a:gd name="T50" fmla="*/ 39 w 699"/>
                <a:gd name="T51" fmla="*/ 186 h 691"/>
                <a:gd name="T52" fmla="*/ 34 w 699"/>
                <a:gd name="T53" fmla="*/ 215 h 691"/>
                <a:gd name="T54" fmla="*/ 53 w 699"/>
                <a:gd name="T55" fmla="*/ 252 h 691"/>
                <a:gd name="T56" fmla="*/ 5 w 699"/>
                <a:gd name="T57" fmla="*/ 280 h 691"/>
                <a:gd name="T58" fmla="*/ 1 w 699"/>
                <a:gd name="T59" fmla="*/ 304 h 691"/>
                <a:gd name="T60" fmla="*/ 39 w 699"/>
                <a:gd name="T61" fmla="*/ 345 h 691"/>
                <a:gd name="T62" fmla="*/ 8 w 699"/>
                <a:gd name="T63" fmla="*/ 374 h 691"/>
                <a:gd name="T64" fmla="*/ 16 w 699"/>
                <a:gd name="T65" fmla="*/ 423 h 691"/>
                <a:gd name="T66" fmla="*/ 54 w 699"/>
                <a:gd name="T67" fmla="*/ 443 h 691"/>
                <a:gd name="T68" fmla="*/ 33 w 699"/>
                <a:gd name="T69" fmla="*/ 496 h 691"/>
                <a:gd name="T70" fmla="*/ 94 w 699"/>
                <a:gd name="T71" fmla="*/ 521 h 691"/>
                <a:gd name="T72" fmla="*/ 102 w 699"/>
                <a:gd name="T73" fmla="*/ 533 h 691"/>
                <a:gd name="T74" fmla="*/ 110 w 699"/>
                <a:gd name="T75" fmla="*/ 600 h 691"/>
                <a:gd name="T76" fmla="*/ 167 w 699"/>
                <a:gd name="T77" fmla="*/ 596 h 691"/>
                <a:gd name="T78" fmla="*/ 173 w 699"/>
                <a:gd name="T79" fmla="*/ 635 h 691"/>
                <a:gd name="T80" fmla="*/ 193 w 699"/>
                <a:gd name="T81" fmla="*/ 657 h 691"/>
                <a:gd name="T82" fmla="*/ 245 w 699"/>
                <a:gd name="T83" fmla="*/ 638 h 691"/>
                <a:gd name="T84" fmla="*/ 261 w 699"/>
                <a:gd name="T85" fmla="*/ 642 h 691"/>
                <a:gd name="T86" fmla="*/ 307 w 699"/>
                <a:gd name="T87" fmla="*/ 691 h 691"/>
                <a:gd name="T88" fmla="*/ 358 w 699"/>
                <a:gd name="T89" fmla="*/ 655 h 691"/>
                <a:gd name="T90" fmla="*/ 394 w 699"/>
                <a:gd name="T91" fmla="*/ 691 h 691"/>
                <a:gd name="T92" fmla="*/ 440 w 699"/>
                <a:gd name="T93" fmla="*/ 642 h 691"/>
                <a:gd name="T94" fmla="*/ 454 w 699"/>
                <a:gd name="T95" fmla="*/ 637 h 691"/>
                <a:gd name="T96" fmla="*/ 508 w 699"/>
                <a:gd name="T97" fmla="*/ 657 h 691"/>
                <a:gd name="T98" fmla="*/ 528 w 699"/>
                <a:gd name="T99" fmla="*/ 636 h 691"/>
                <a:gd name="T100" fmla="*/ 539 w 699"/>
                <a:gd name="T101" fmla="*/ 592 h 691"/>
                <a:gd name="T102" fmla="*/ 606 w 699"/>
                <a:gd name="T103" fmla="*/ 584 h 691"/>
                <a:gd name="T104" fmla="*/ 602 w 699"/>
                <a:gd name="T105" fmla="*/ 528 h 691"/>
                <a:gd name="T106" fmla="*/ 643 w 699"/>
                <a:gd name="T107" fmla="*/ 522 h 691"/>
                <a:gd name="T108" fmla="*/ 667 w 699"/>
                <a:gd name="T109" fmla="*/ 478 h 691"/>
                <a:gd name="T110" fmla="*/ 648 w 699"/>
                <a:gd name="T111" fmla="*/ 441 h 691"/>
                <a:gd name="T112" fmla="*/ 696 w 699"/>
                <a:gd name="T113" fmla="*/ 410 h 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99" h="691">
                  <a:moveTo>
                    <a:pt x="692" y="374"/>
                  </a:moveTo>
                  <a:cubicBezTo>
                    <a:pt x="662" y="354"/>
                    <a:pt x="662" y="354"/>
                    <a:pt x="662" y="354"/>
                  </a:cubicBezTo>
                  <a:cubicBezTo>
                    <a:pt x="662" y="347"/>
                    <a:pt x="662" y="347"/>
                    <a:pt x="662" y="347"/>
                  </a:cubicBezTo>
                  <a:cubicBezTo>
                    <a:pt x="662" y="346"/>
                    <a:pt x="662" y="346"/>
                    <a:pt x="662" y="345"/>
                  </a:cubicBezTo>
                  <a:cubicBezTo>
                    <a:pt x="662" y="339"/>
                    <a:pt x="662" y="339"/>
                    <a:pt x="662" y="339"/>
                  </a:cubicBezTo>
                  <a:cubicBezTo>
                    <a:pt x="691" y="320"/>
                    <a:pt x="691" y="320"/>
                    <a:pt x="691" y="320"/>
                  </a:cubicBezTo>
                  <a:cubicBezTo>
                    <a:pt x="696" y="316"/>
                    <a:pt x="699" y="310"/>
                    <a:pt x="698" y="304"/>
                  </a:cubicBezTo>
                  <a:cubicBezTo>
                    <a:pt x="696" y="282"/>
                    <a:pt x="696" y="282"/>
                    <a:pt x="696" y="282"/>
                  </a:cubicBezTo>
                  <a:cubicBezTo>
                    <a:pt x="695" y="276"/>
                    <a:pt x="691" y="271"/>
                    <a:pt x="684" y="269"/>
                  </a:cubicBezTo>
                  <a:cubicBezTo>
                    <a:pt x="650" y="259"/>
                    <a:pt x="650" y="259"/>
                    <a:pt x="650" y="259"/>
                  </a:cubicBezTo>
                  <a:cubicBezTo>
                    <a:pt x="650" y="259"/>
                    <a:pt x="650" y="259"/>
                    <a:pt x="650" y="258"/>
                  </a:cubicBezTo>
                  <a:cubicBezTo>
                    <a:pt x="645" y="243"/>
                    <a:pt x="645" y="243"/>
                    <a:pt x="645" y="243"/>
                  </a:cubicBezTo>
                  <a:cubicBezTo>
                    <a:pt x="667" y="215"/>
                    <a:pt x="667" y="215"/>
                    <a:pt x="667" y="215"/>
                  </a:cubicBezTo>
                  <a:cubicBezTo>
                    <a:pt x="671" y="211"/>
                    <a:pt x="671" y="204"/>
                    <a:pt x="668" y="198"/>
                  </a:cubicBezTo>
                  <a:cubicBezTo>
                    <a:pt x="663" y="188"/>
                    <a:pt x="663" y="188"/>
                    <a:pt x="663" y="188"/>
                  </a:cubicBezTo>
                  <a:cubicBezTo>
                    <a:pt x="663" y="187"/>
                    <a:pt x="663" y="187"/>
                    <a:pt x="662" y="186"/>
                  </a:cubicBezTo>
                  <a:cubicBezTo>
                    <a:pt x="657" y="179"/>
                    <a:pt x="657" y="179"/>
                    <a:pt x="657" y="179"/>
                  </a:cubicBezTo>
                  <a:cubicBezTo>
                    <a:pt x="654" y="174"/>
                    <a:pt x="649" y="171"/>
                    <a:pt x="644" y="171"/>
                  </a:cubicBezTo>
                  <a:cubicBezTo>
                    <a:pt x="607" y="171"/>
                    <a:pt x="607" y="171"/>
                    <a:pt x="607" y="171"/>
                  </a:cubicBezTo>
                  <a:cubicBezTo>
                    <a:pt x="603" y="165"/>
                    <a:pt x="603" y="165"/>
                    <a:pt x="603" y="165"/>
                  </a:cubicBezTo>
                  <a:cubicBezTo>
                    <a:pt x="603" y="165"/>
                    <a:pt x="602" y="165"/>
                    <a:pt x="602" y="165"/>
                  </a:cubicBezTo>
                  <a:cubicBezTo>
                    <a:pt x="599" y="160"/>
                    <a:pt x="599" y="160"/>
                    <a:pt x="599" y="160"/>
                  </a:cubicBezTo>
                  <a:cubicBezTo>
                    <a:pt x="610" y="126"/>
                    <a:pt x="610" y="126"/>
                    <a:pt x="610" y="126"/>
                  </a:cubicBezTo>
                  <a:cubicBezTo>
                    <a:pt x="612" y="120"/>
                    <a:pt x="610" y="113"/>
                    <a:pt x="606" y="109"/>
                  </a:cubicBezTo>
                  <a:cubicBezTo>
                    <a:pt x="591" y="94"/>
                    <a:pt x="591" y="94"/>
                    <a:pt x="591" y="94"/>
                  </a:cubicBezTo>
                  <a:cubicBezTo>
                    <a:pt x="586" y="89"/>
                    <a:pt x="580" y="88"/>
                    <a:pt x="574" y="90"/>
                  </a:cubicBezTo>
                  <a:cubicBezTo>
                    <a:pt x="540" y="101"/>
                    <a:pt x="540" y="101"/>
                    <a:pt x="540" y="101"/>
                  </a:cubicBezTo>
                  <a:cubicBezTo>
                    <a:pt x="540" y="101"/>
                    <a:pt x="539" y="101"/>
                    <a:pt x="539" y="100"/>
                  </a:cubicBezTo>
                  <a:cubicBezTo>
                    <a:pt x="533" y="97"/>
                    <a:pt x="533" y="97"/>
                    <a:pt x="533" y="97"/>
                  </a:cubicBezTo>
                  <a:cubicBezTo>
                    <a:pt x="528" y="93"/>
                    <a:pt x="528" y="93"/>
                    <a:pt x="528" y="93"/>
                  </a:cubicBezTo>
                  <a:cubicBezTo>
                    <a:pt x="528" y="56"/>
                    <a:pt x="528" y="56"/>
                    <a:pt x="528" y="56"/>
                  </a:cubicBezTo>
                  <a:cubicBezTo>
                    <a:pt x="528" y="50"/>
                    <a:pt x="525" y="44"/>
                    <a:pt x="519" y="42"/>
                  </a:cubicBezTo>
                  <a:cubicBezTo>
                    <a:pt x="509" y="37"/>
                    <a:pt x="509" y="37"/>
                    <a:pt x="509" y="37"/>
                  </a:cubicBezTo>
                  <a:cubicBezTo>
                    <a:pt x="509" y="36"/>
                    <a:pt x="509" y="36"/>
                    <a:pt x="508" y="36"/>
                  </a:cubicBezTo>
                  <a:cubicBezTo>
                    <a:pt x="499" y="32"/>
                    <a:pt x="499" y="32"/>
                    <a:pt x="499" y="32"/>
                  </a:cubicBezTo>
                  <a:cubicBezTo>
                    <a:pt x="494" y="30"/>
                    <a:pt x="488" y="31"/>
                    <a:pt x="484" y="34"/>
                  </a:cubicBezTo>
                  <a:cubicBezTo>
                    <a:pt x="454" y="55"/>
                    <a:pt x="454" y="55"/>
                    <a:pt x="454" y="55"/>
                  </a:cubicBezTo>
                  <a:cubicBezTo>
                    <a:pt x="449" y="53"/>
                    <a:pt x="449" y="53"/>
                    <a:pt x="449" y="53"/>
                  </a:cubicBezTo>
                  <a:cubicBezTo>
                    <a:pt x="448" y="52"/>
                    <a:pt x="447" y="52"/>
                    <a:pt x="447" y="52"/>
                  </a:cubicBezTo>
                  <a:cubicBezTo>
                    <a:pt x="440" y="50"/>
                    <a:pt x="440" y="50"/>
                    <a:pt x="440" y="50"/>
                  </a:cubicBezTo>
                  <a:cubicBezTo>
                    <a:pt x="428" y="16"/>
                    <a:pt x="428" y="16"/>
                    <a:pt x="428" y="16"/>
                  </a:cubicBezTo>
                  <a:cubicBezTo>
                    <a:pt x="427" y="11"/>
                    <a:pt x="422" y="7"/>
                    <a:pt x="417" y="6"/>
                  </a:cubicBezTo>
                  <a:cubicBezTo>
                    <a:pt x="407" y="3"/>
                    <a:pt x="407" y="3"/>
                    <a:pt x="407" y="3"/>
                  </a:cubicBezTo>
                  <a:cubicBezTo>
                    <a:pt x="406" y="3"/>
                    <a:pt x="405" y="3"/>
                    <a:pt x="405" y="3"/>
                  </a:cubicBezTo>
                  <a:cubicBezTo>
                    <a:pt x="394" y="1"/>
                    <a:pt x="394" y="1"/>
                    <a:pt x="394" y="1"/>
                  </a:cubicBezTo>
                  <a:cubicBezTo>
                    <a:pt x="388" y="1"/>
                    <a:pt x="383" y="3"/>
                    <a:pt x="379" y="8"/>
                  </a:cubicBezTo>
                  <a:cubicBezTo>
                    <a:pt x="359" y="38"/>
                    <a:pt x="359" y="38"/>
                    <a:pt x="359" y="38"/>
                  </a:cubicBezTo>
                  <a:cubicBezTo>
                    <a:pt x="352" y="37"/>
                    <a:pt x="352" y="37"/>
                    <a:pt x="352" y="37"/>
                  </a:cubicBezTo>
                  <a:cubicBezTo>
                    <a:pt x="352" y="37"/>
                    <a:pt x="351" y="37"/>
                    <a:pt x="350" y="37"/>
                  </a:cubicBezTo>
                  <a:cubicBezTo>
                    <a:pt x="342" y="38"/>
                    <a:pt x="342" y="38"/>
                    <a:pt x="342" y="38"/>
                  </a:cubicBezTo>
                  <a:cubicBezTo>
                    <a:pt x="322" y="8"/>
                    <a:pt x="322" y="8"/>
                    <a:pt x="322" y="8"/>
                  </a:cubicBezTo>
                  <a:cubicBezTo>
                    <a:pt x="318" y="3"/>
                    <a:pt x="312" y="0"/>
                    <a:pt x="306" y="2"/>
                  </a:cubicBezTo>
                  <a:cubicBezTo>
                    <a:pt x="285" y="5"/>
                    <a:pt x="285" y="5"/>
                    <a:pt x="285" y="5"/>
                  </a:cubicBezTo>
                  <a:cubicBezTo>
                    <a:pt x="279" y="7"/>
                    <a:pt x="275" y="11"/>
                    <a:pt x="273" y="16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61" y="50"/>
                    <a:pt x="261" y="50"/>
                    <a:pt x="261" y="50"/>
                  </a:cubicBezTo>
                  <a:cubicBezTo>
                    <a:pt x="253" y="52"/>
                    <a:pt x="253" y="52"/>
                    <a:pt x="253" y="52"/>
                  </a:cubicBezTo>
                  <a:cubicBezTo>
                    <a:pt x="253" y="52"/>
                    <a:pt x="253" y="53"/>
                    <a:pt x="253" y="53"/>
                  </a:cubicBezTo>
                  <a:cubicBezTo>
                    <a:pt x="247" y="55"/>
                    <a:pt x="247" y="55"/>
                    <a:pt x="247" y="55"/>
                  </a:cubicBezTo>
                  <a:cubicBezTo>
                    <a:pt x="217" y="34"/>
                    <a:pt x="217" y="34"/>
                    <a:pt x="217" y="34"/>
                  </a:cubicBezTo>
                  <a:cubicBezTo>
                    <a:pt x="213" y="31"/>
                    <a:pt x="207" y="30"/>
                    <a:pt x="202" y="32"/>
                  </a:cubicBezTo>
                  <a:cubicBezTo>
                    <a:pt x="193" y="36"/>
                    <a:pt x="193" y="36"/>
                    <a:pt x="193" y="36"/>
                  </a:cubicBezTo>
                  <a:cubicBezTo>
                    <a:pt x="192" y="36"/>
                    <a:pt x="192" y="36"/>
                    <a:pt x="192" y="37"/>
                  </a:cubicBezTo>
                  <a:cubicBezTo>
                    <a:pt x="181" y="42"/>
                    <a:pt x="181" y="42"/>
                    <a:pt x="181" y="42"/>
                  </a:cubicBezTo>
                  <a:cubicBezTo>
                    <a:pt x="176" y="45"/>
                    <a:pt x="172" y="50"/>
                    <a:pt x="173" y="57"/>
                  </a:cubicBezTo>
                  <a:cubicBezTo>
                    <a:pt x="174" y="93"/>
                    <a:pt x="174" y="93"/>
                    <a:pt x="174" y="93"/>
                  </a:cubicBezTo>
                  <a:cubicBezTo>
                    <a:pt x="162" y="101"/>
                    <a:pt x="162" y="101"/>
                    <a:pt x="162" y="101"/>
                  </a:cubicBezTo>
                  <a:cubicBezTo>
                    <a:pt x="127" y="90"/>
                    <a:pt x="127" y="90"/>
                    <a:pt x="127" y="90"/>
                  </a:cubicBezTo>
                  <a:cubicBezTo>
                    <a:pt x="121" y="88"/>
                    <a:pt x="115" y="89"/>
                    <a:pt x="110" y="94"/>
                  </a:cubicBezTo>
                  <a:cubicBezTo>
                    <a:pt x="95" y="109"/>
                    <a:pt x="95" y="109"/>
                    <a:pt x="95" y="109"/>
                  </a:cubicBezTo>
                  <a:cubicBezTo>
                    <a:pt x="90" y="113"/>
                    <a:pt x="89" y="120"/>
                    <a:pt x="91" y="126"/>
                  </a:cubicBezTo>
                  <a:cubicBezTo>
                    <a:pt x="102" y="159"/>
                    <a:pt x="102" y="159"/>
                    <a:pt x="102" y="159"/>
                  </a:cubicBezTo>
                  <a:cubicBezTo>
                    <a:pt x="102" y="159"/>
                    <a:pt x="102" y="160"/>
                    <a:pt x="101" y="160"/>
                  </a:cubicBezTo>
                  <a:cubicBezTo>
                    <a:pt x="98" y="166"/>
                    <a:pt x="98" y="166"/>
                    <a:pt x="98" y="166"/>
                  </a:cubicBezTo>
                  <a:cubicBezTo>
                    <a:pt x="94" y="171"/>
                    <a:pt x="94" y="171"/>
                    <a:pt x="94" y="171"/>
                  </a:cubicBezTo>
                  <a:cubicBezTo>
                    <a:pt x="57" y="171"/>
                    <a:pt x="57" y="171"/>
                    <a:pt x="57" y="171"/>
                  </a:cubicBezTo>
                  <a:cubicBezTo>
                    <a:pt x="52" y="171"/>
                    <a:pt x="47" y="174"/>
                    <a:pt x="44" y="179"/>
                  </a:cubicBezTo>
                  <a:cubicBezTo>
                    <a:pt x="39" y="186"/>
                    <a:pt x="39" y="186"/>
                    <a:pt x="39" y="186"/>
                  </a:cubicBezTo>
                  <a:cubicBezTo>
                    <a:pt x="38" y="187"/>
                    <a:pt x="38" y="187"/>
                    <a:pt x="38" y="188"/>
                  </a:cubicBezTo>
                  <a:cubicBezTo>
                    <a:pt x="32" y="198"/>
                    <a:pt x="32" y="198"/>
                    <a:pt x="32" y="198"/>
                  </a:cubicBezTo>
                  <a:cubicBezTo>
                    <a:pt x="30" y="204"/>
                    <a:pt x="30" y="211"/>
                    <a:pt x="34" y="215"/>
                  </a:cubicBezTo>
                  <a:cubicBezTo>
                    <a:pt x="56" y="243"/>
                    <a:pt x="56" y="243"/>
                    <a:pt x="56" y="243"/>
                  </a:cubicBezTo>
                  <a:cubicBezTo>
                    <a:pt x="53" y="251"/>
                    <a:pt x="53" y="251"/>
                    <a:pt x="53" y="251"/>
                  </a:cubicBezTo>
                  <a:cubicBezTo>
                    <a:pt x="53" y="251"/>
                    <a:pt x="53" y="252"/>
                    <a:pt x="53" y="252"/>
                  </a:cubicBezTo>
                  <a:cubicBezTo>
                    <a:pt x="52" y="258"/>
                    <a:pt x="52" y="258"/>
                    <a:pt x="52" y="258"/>
                  </a:cubicBezTo>
                  <a:cubicBezTo>
                    <a:pt x="17" y="269"/>
                    <a:pt x="17" y="269"/>
                    <a:pt x="17" y="269"/>
                  </a:cubicBezTo>
                  <a:cubicBezTo>
                    <a:pt x="11" y="270"/>
                    <a:pt x="7" y="275"/>
                    <a:pt x="5" y="280"/>
                  </a:cubicBezTo>
                  <a:cubicBezTo>
                    <a:pt x="3" y="291"/>
                    <a:pt x="3" y="291"/>
                    <a:pt x="3" y="291"/>
                  </a:cubicBezTo>
                  <a:cubicBezTo>
                    <a:pt x="3" y="291"/>
                    <a:pt x="3" y="292"/>
                    <a:pt x="2" y="293"/>
                  </a:cubicBezTo>
                  <a:cubicBezTo>
                    <a:pt x="1" y="304"/>
                    <a:pt x="1" y="304"/>
                    <a:pt x="1" y="304"/>
                  </a:cubicBezTo>
                  <a:cubicBezTo>
                    <a:pt x="1" y="310"/>
                    <a:pt x="3" y="316"/>
                    <a:pt x="9" y="320"/>
                  </a:cubicBezTo>
                  <a:cubicBezTo>
                    <a:pt x="39" y="339"/>
                    <a:pt x="39" y="339"/>
                    <a:pt x="39" y="339"/>
                  </a:cubicBezTo>
                  <a:cubicBezTo>
                    <a:pt x="39" y="345"/>
                    <a:pt x="39" y="345"/>
                    <a:pt x="39" y="345"/>
                  </a:cubicBezTo>
                  <a:cubicBezTo>
                    <a:pt x="38" y="346"/>
                    <a:pt x="38" y="346"/>
                    <a:pt x="39" y="347"/>
                  </a:cubicBezTo>
                  <a:cubicBezTo>
                    <a:pt x="39" y="353"/>
                    <a:pt x="39" y="353"/>
                    <a:pt x="39" y="353"/>
                  </a:cubicBezTo>
                  <a:cubicBezTo>
                    <a:pt x="8" y="374"/>
                    <a:pt x="8" y="374"/>
                    <a:pt x="8" y="374"/>
                  </a:cubicBezTo>
                  <a:cubicBezTo>
                    <a:pt x="3" y="377"/>
                    <a:pt x="0" y="384"/>
                    <a:pt x="1" y="390"/>
                  </a:cubicBezTo>
                  <a:cubicBezTo>
                    <a:pt x="5" y="411"/>
                    <a:pt x="5" y="411"/>
                    <a:pt x="5" y="411"/>
                  </a:cubicBezTo>
                  <a:cubicBezTo>
                    <a:pt x="6" y="417"/>
                    <a:pt x="10" y="421"/>
                    <a:pt x="16" y="423"/>
                  </a:cubicBezTo>
                  <a:cubicBezTo>
                    <a:pt x="52" y="435"/>
                    <a:pt x="52" y="435"/>
                    <a:pt x="52" y="435"/>
                  </a:cubicBezTo>
                  <a:cubicBezTo>
                    <a:pt x="53" y="440"/>
                    <a:pt x="53" y="440"/>
                    <a:pt x="53" y="440"/>
                  </a:cubicBezTo>
                  <a:cubicBezTo>
                    <a:pt x="53" y="441"/>
                    <a:pt x="53" y="442"/>
                    <a:pt x="54" y="443"/>
                  </a:cubicBezTo>
                  <a:cubicBezTo>
                    <a:pt x="56" y="449"/>
                    <a:pt x="56" y="449"/>
                    <a:pt x="56" y="449"/>
                  </a:cubicBezTo>
                  <a:cubicBezTo>
                    <a:pt x="34" y="478"/>
                    <a:pt x="34" y="478"/>
                    <a:pt x="34" y="478"/>
                  </a:cubicBezTo>
                  <a:cubicBezTo>
                    <a:pt x="30" y="483"/>
                    <a:pt x="30" y="490"/>
                    <a:pt x="33" y="496"/>
                  </a:cubicBezTo>
                  <a:cubicBezTo>
                    <a:pt x="43" y="514"/>
                    <a:pt x="43" y="514"/>
                    <a:pt x="43" y="514"/>
                  </a:cubicBezTo>
                  <a:cubicBezTo>
                    <a:pt x="46" y="519"/>
                    <a:pt x="52" y="522"/>
                    <a:pt x="58" y="522"/>
                  </a:cubicBezTo>
                  <a:cubicBezTo>
                    <a:pt x="94" y="521"/>
                    <a:pt x="94" y="521"/>
                    <a:pt x="94" y="521"/>
                  </a:cubicBezTo>
                  <a:cubicBezTo>
                    <a:pt x="98" y="527"/>
                    <a:pt x="98" y="527"/>
                    <a:pt x="98" y="527"/>
                  </a:cubicBezTo>
                  <a:cubicBezTo>
                    <a:pt x="98" y="528"/>
                    <a:pt x="98" y="528"/>
                    <a:pt x="99" y="529"/>
                  </a:cubicBezTo>
                  <a:cubicBezTo>
                    <a:pt x="102" y="533"/>
                    <a:pt x="102" y="533"/>
                    <a:pt x="102" y="533"/>
                  </a:cubicBezTo>
                  <a:cubicBezTo>
                    <a:pt x="91" y="568"/>
                    <a:pt x="91" y="568"/>
                    <a:pt x="91" y="568"/>
                  </a:cubicBezTo>
                  <a:cubicBezTo>
                    <a:pt x="89" y="573"/>
                    <a:pt x="90" y="580"/>
                    <a:pt x="95" y="584"/>
                  </a:cubicBezTo>
                  <a:cubicBezTo>
                    <a:pt x="110" y="600"/>
                    <a:pt x="110" y="600"/>
                    <a:pt x="110" y="600"/>
                  </a:cubicBezTo>
                  <a:cubicBezTo>
                    <a:pt x="115" y="604"/>
                    <a:pt x="121" y="605"/>
                    <a:pt x="127" y="603"/>
                  </a:cubicBezTo>
                  <a:cubicBezTo>
                    <a:pt x="162" y="592"/>
                    <a:pt x="162" y="592"/>
                    <a:pt x="162" y="592"/>
                  </a:cubicBezTo>
                  <a:cubicBezTo>
                    <a:pt x="167" y="596"/>
                    <a:pt x="167" y="596"/>
                    <a:pt x="167" y="596"/>
                  </a:cubicBezTo>
                  <a:cubicBezTo>
                    <a:pt x="167" y="596"/>
                    <a:pt x="168" y="596"/>
                    <a:pt x="168" y="596"/>
                  </a:cubicBezTo>
                  <a:cubicBezTo>
                    <a:pt x="174" y="600"/>
                    <a:pt x="174" y="600"/>
                    <a:pt x="174" y="600"/>
                  </a:cubicBezTo>
                  <a:cubicBezTo>
                    <a:pt x="173" y="635"/>
                    <a:pt x="173" y="635"/>
                    <a:pt x="173" y="635"/>
                  </a:cubicBezTo>
                  <a:cubicBezTo>
                    <a:pt x="172" y="641"/>
                    <a:pt x="175" y="647"/>
                    <a:pt x="180" y="650"/>
                  </a:cubicBezTo>
                  <a:cubicBezTo>
                    <a:pt x="190" y="656"/>
                    <a:pt x="190" y="656"/>
                    <a:pt x="190" y="656"/>
                  </a:cubicBezTo>
                  <a:cubicBezTo>
                    <a:pt x="191" y="656"/>
                    <a:pt x="192" y="657"/>
                    <a:pt x="193" y="657"/>
                  </a:cubicBezTo>
                  <a:cubicBezTo>
                    <a:pt x="202" y="661"/>
                    <a:pt x="202" y="661"/>
                    <a:pt x="202" y="661"/>
                  </a:cubicBezTo>
                  <a:cubicBezTo>
                    <a:pt x="207" y="663"/>
                    <a:pt x="213" y="663"/>
                    <a:pt x="218" y="659"/>
                  </a:cubicBezTo>
                  <a:cubicBezTo>
                    <a:pt x="245" y="638"/>
                    <a:pt x="245" y="638"/>
                    <a:pt x="245" y="638"/>
                  </a:cubicBezTo>
                  <a:cubicBezTo>
                    <a:pt x="246" y="639"/>
                    <a:pt x="247" y="639"/>
                    <a:pt x="248" y="639"/>
                  </a:cubicBezTo>
                  <a:cubicBezTo>
                    <a:pt x="254" y="640"/>
                    <a:pt x="254" y="640"/>
                    <a:pt x="254" y="640"/>
                  </a:cubicBezTo>
                  <a:cubicBezTo>
                    <a:pt x="261" y="642"/>
                    <a:pt x="261" y="642"/>
                    <a:pt x="261" y="642"/>
                  </a:cubicBezTo>
                  <a:cubicBezTo>
                    <a:pt x="273" y="677"/>
                    <a:pt x="273" y="677"/>
                    <a:pt x="273" y="677"/>
                  </a:cubicBezTo>
                  <a:cubicBezTo>
                    <a:pt x="275" y="683"/>
                    <a:pt x="280" y="687"/>
                    <a:pt x="286" y="688"/>
                  </a:cubicBezTo>
                  <a:cubicBezTo>
                    <a:pt x="307" y="691"/>
                    <a:pt x="307" y="691"/>
                    <a:pt x="307" y="691"/>
                  </a:cubicBezTo>
                  <a:cubicBezTo>
                    <a:pt x="312" y="691"/>
                    <a:pt x="318" y="689"/>
                    <a:pt x="322" y="684"/>
                  </a:cubicBezTo>
                  <a:cubicBezTo>
                    <a:pt x="343" y="655"/>
                    <a:pt x="343" y="655"/>
                    <a:pt x="343" y="655"/>
                  </a:cubicBezTo>
                  <a:cubicBezTo>
                    <a:pt x="358" y="655"/>
                    <a:pt x="358" y="655"/>
                    <a:pt x="358" y="655"/>
                  </a:cubicBezTo>
                  <a:cubicBezTo>
                    <a:pt x="379" y="684"/>
                    <a:pt x="379" y="684"/>
                    <a:pt x="379" y="684"/>
                  </a:cubicBezTo>
                  <a:cubicBezTo>
                    <a:pt x="382" y="688"/>
                    <a:pt x="387" y="691"/>
                    <a:pt x="392" y="691"/>
                  </a:cubicBezTo>
                  <a:cubicBezTo>
                    <a:pt x="393" y="691"/>
                    <a:pt x="394" y="691"/>
                    <a:pt x="394" y="691"/>
                  </a:cubicBezTo>
                  <a:cubicBezTo>
                    <a:pt x="415" y="688"/>
                    <a:pt x="415" y="688"/>
                    <a:pt x="415" y="688"/>
                  </a:cubicBezTo>
                  <a:cubicBezTo>
                    <a:pt x="421" y="687"/>
                    <a:pt x="426" y="683"/>
                    <a:pt x="428" y="677"/>
                  </a:cubicBezTo>
                  <a:cubicBezTo>
                    <a:pt x="440" y="642"/>
                    <a:pt x="440" y="642"/>
                    <a:pt x="440" y="642"/>
                  </a:cubicBezTo>
                  <a:cubicBezTo>
                    <a:pt x="448" y="640"/>
                    <a:pt x="448" y="640"/>
                    <a:pt x="448" y="640"/>
                  </a:cubicBezTo>
                  <a:cubicBezTo>
                    <a:pt x="448" y="640"/>
                    <a:pt x="448" y="639"/>
                    <a:pt x="448" y="639"/>
                  </a:cubicBezTo>
                  <a:cubicBezTo>
                    <a:pt x="454" y="637"/>
                    <a:pt x="454" y="637"/>
                    <a:pt x="454" y="637"/>
                  </a:cubicBezTo>
                  <a:cubicBezTo>
                    <a:pt x="483" y="659"/>
                    <a:pt x="483" y="659"/>
                    <a:pt x="483" y="659"/>
                  </a:cubicBezTo>
                  <a:cubicBezTo>
                    <a:pt x="488" y="663"/>
                    <a:pt x="494" y="663"/>
                    <a:pt x="499" y="661"/>
                  </a:cubicBezTo>
                  <a:cubicBezTo>
                    <a:pt x="508" y="657"/>
                    <a:pt x="508" y="657"/>
                    <a:pt x="508" y="657"/>
                  </a:cubicBezTo>
                  <a:cubicBezTo>
                    <a:pt x="509" y="657"/>
                    <a:pt x="510" y="656"/>
                    <a:pt x="510" y="656"/>
                  </a:cubicBezTo>
                  <a:cubicBezTo>
                    <a:pt x="521" y="650"/>
                    <a:pt x="521" y="650"/>
                    <a:pt x="521" y="650"/>
                  </a:cubicBezTo>
                  <a:cubicBezTo>
                    <a:pt x="525" y="647"/>
                    <a:pt x="528" y="641"/>
                    <a:pt x="528" y="636"/>
                  </a:cubicBezTo>
                  <a:cubicBezTo>
                    <a:pt x="528" y="600"/>
                    <a:pt x="528" y="600"/>
                    <a:pt x="528" y="600"/>
                  </a:cubicBezTo>
                  <a:cubicBezTo>
                    <a:pt x="533" y="596"/>
                    <a:pt x="533" y="596"/>
                    <a:pt x="533" y="596"/>
                  </a:cubicBezTo>
                  <a:cubicBezTo>
                    <a:pt x="539" y="592"/>
                    <a:pt x="539" y="592"/>
                    <a:pt x="539" y="592"/>
                  </a:cubicBezTo>
                  <a:cubicBezTo>
                    <a:pt x="574" y="603"/>
                    <a:pt x="574" y="603"/>
                    <a:pt x="574" y="603"/>
                  </a:cubicBezTo>
                  <a:cubicBezTo>
                    <a:pt x="580" y="605"/>
                    <a:pt x="586" y="604"/>
                    <a:pt x="591" y="600"/>
                  </a:cubicBezTo>
                  <a:cubicBezTo>
                    <a:pt x="606" y="584"/>
                    <a:pt x="606" y="584"/>
                    <a:pt x="606" y="584"/>
                  </a:cubicBezTo>
                  <a:cubicBezTo>
                    <a:pt x="610" y="580"/>
                    <a:pt x="612" y="573"/>
                    <a:pt x="610" y="568"/>
                  </a:cubicBezTo>
                  <a:cubicBezTo>
                    <a:pt x="599" y="533"/>
                    <a:pt x="599" y="533"/>
                    <a:pt x="599" y="533"/>
                  </a:cubicBezTo>
                  <a:cubicBezTo>
                    <a:pt x="602" y="528"/>
                    <a:pt x="602" y="528"/>
                    <a:pt x="602" y="528"/>
                  </a:cubicBezTo>
                  <a:cubicBezTo>
                    <a:pt x="603" y="528"/>
                    <a:pt x="603" y="528"/>
                    <a:pt x="603" y="527"/>
                  </a:cubicBezTo>
                  <a:cubicBezTo>
                    <a:pt x="607" y="521"/>
                    <a:pt x="607" y="521"/>
                    <a:pt x="607" y="521"/>
                  </a:cubicBezTo>
                  <a:cubicBezTo>
                    <a:pt x="643" y="522"/>
                    <a:pt x="643" y="522"/>
                    <a:pt x="643" y="522"/>
                  </a:cubicBezTo>
                  <a:cubicBezTo>
                    <a:pt x="649" y="522"/>
                    <a:pt x="655" y="519"/>
                    <a:pt x="658" y="514"/>
                  </a:cubicBezTo>
                  <a:cubicBezTo>
                    <a:pt x="668" y="496"/>
                    <a:pt x="668" y="496"/>
                    <a:pt x="668" y="496"/>
                  </a:cubicBezTo>
                  <a:cubicBezTo>
                    <a:pt x="671" y="490"/>
                    <a:pt x="671" y="483"/>
                    <a:pt x="667" y="478"/>
                  </a:cubicBezTo>
                  <a:cubicBezTo>
                    <a:pt x="645" y="449"/>
                    <a:pt x="645" y="449"/>
                    <a:pt x="645" y="449"/>
                  </a:cubicBezTo>
                  <a:cubicBezTo>
                    <a:pt x="647" y="443"/>
                    <a:pt x="647" y="443"/>
                    <a:pt x="647" y="443"/>
                  </a:cubicBezTo>
                  <a:cubicBezTo>
                    <a:pt x="647" y="443"/>
                    <a:pt x="648" y="442"/>
                    <a:pt x="648" y="441"/>
                  </a:cubicBezTo>
                  <a:cubicBezTo>
                    <a:pt x="649" y="435"/>
                    <a:pt x="649" y="435"/>
                    <a:pt x="649" y="435"/>
                  </a:cubicBezTo>
                  <a:cubicBezTo>
                    <a:pt x="685" y="423"/>
                    <a:pt x="685" y="423"/>
                    <a:pt x="685" y="423"/>
                  </a:cubicBezTo>
                  <a:cubicBezTo>
                    <a:pt x="691" y="421"/>
                    <a:pt x="695" y="416"/>
                    <a:pt x="696" y="410"/>
                  </a:cubicBezTo>
                  <a:cubicBezTo>
                    <a:pt x="698" y="389"/>
                    <a:pt x="698" y="389"/>
                    <a:pt x="698" y="389"/>
                  </a:cubicBezTo>
                  <a:cubicBezTo>
                    <a:pt x="699" y="383"/>
                    <a:pt x="697" y="377"/>
                    <a:pt x="692" y="374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CH" sz="1600" dirty="0"/>
            </a:p>
          </p:txBody>
        </p:sp>
        <p:sp>
          <p:nvSpPr>
            <p:cNvPr id="58" name="Oval 30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5305684" y="2994227"/>
              <a:ext cx="1584000" cy="1584000"/>
            </a:xfrm>
            <a:prstGeom prst="ellipse">
              <a:avLst/>
            </a:prstGeom>
            <a:solidFill>
              <a:schemeClr val="bg2"/>
            </a:solidFill>
            <a:ln w="9525">
              <a:noFill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/>
            <a:lstStyle/>
            <a:p>
              <a:pPr algn="ctr"/>
              <a:endParaRPr lang="fr-CH" sz="1400" b="1" dirty="0">
                <a:solidFill>
                  <a:schemeClr val="accent1"/>
                </a:solidFill>
              </a:endParaRPr>
            </a:p>
          </p:txBody>
        </p:sp>
      </p:grpSp>
      <p:sp>
        <p:nvSpPr>
          <p:cNvPr id="71" name="Freeform 5"/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4295800" y="1484529"/>
            <a:ext cx="1476000" cy="1476000"/>
          </a:xfrm>
          <a:custGeom>
            <a:avLst/>
            <a:gdLst>
              <a:gd name="T0" fmla="*/ 662 w 699"/>
              <a:gd name="T1" fmla="*/ 347 h 691"/>
              <a:gd name="T2" fmla="*/ 691 w 699"/>
              <a:gd name="T3" fmla="*/ 320 h 691"/>
              <a:gd name="T4" fmla="*/ 684 w 699"/>
              <a:gd name="T5" fmla="*/ 269 h 691"/>
              <a:gd name="T6" fmla="*/ 645 w 699"/>
              <a:gd name="T7" fmla="*/ 243 h 691"/>
              <a:gd name="T8" fmla="*/ 663 w 699"/>
              <a:gd name="T9" fmla="*/ 188 h 691"/>
              <a:gd name="T10" fmla="*/ 644 w 699"/>
              <a:gd name="T11" fmla="*/ 171 h 691"/>
              <a:gd name="T12" fmla="*/ 602 w 699"/>
              <a:gd name="T13" fmla="*/ 165 h 691"/>
              <a:gd name="T14" fmla="*/ 606 w 699"/>
              <a:gd name="T15" fmla="*/ 109 h 691"/>
              <a:gd name="T16" fmla="*/ 540 w 699"/>
              <a:gd name="T17" fmla="*/ 101 h 691"/>
              <a:gd name="T18" fmla="*/ 528 w 699"/>
              <a:gd name="T19" fmla="*/ 93 h 691"/>
              <a:gd name="T20" fmla="*/ 509 w 699"/>
              <a:gd name="T21" fmla="*/ 37 h 691"/>
              <a:gd name="T22" fmla="*/ 484 w 699"/>
              <a:gd name="T23" fmla="*/ 34 h 691"/>
              <a:gd name="T24" fmla="*/ 447 w 699"/>
              <a:gd name="T25" fmla="*/ 52 h 691"/>
              <a:gd name="T26" fmla="*/ 417 w 699"/>
              <a:gd name="T27" fmla="*/ 6 h 691"/>
              <a:gd name="T28" fmla="*/ 394 w 699"/>
              <a:gd name="T29" fmla="*/ 1 h 691"/>
              <a:gd name="T30" fmla="*/ 352 w 699"/>
              <a:gd name="T31" fmla="*/ 37 h 691"/>
              <a:gd name="T32" fmla="*/ 322 w 699"/>
              <a:gd name="T33" fmla="*/ 8 h 691"/>
              <a:gd name="T34" fmla="*/ 273 w 699"/>
              <a:gd name="T35" fmla="*/ 16 h 691"/>
              <a:gd name="T36" fmla="*/ 253 w 699"/>
              <a:gd name="T37" fmla="*/ 52 h 691"/>
              <a:gd name="T38" fmla="*/ 217 w 699"/>
              <a:gd name="T39" fmla="*/ 34 h 691"/>
              <a:gd name="T40" fmla="*/ 192 w 699"/>
              <a:gd name="T41" fmla="*/ 37 h 691"/>
              <a:gd name="T42" fmla="*/ 174 w 699"/>
              <a:gd name="T43" fmla="*/ 93 h 691"/>
              <a:gd name="T44" fmla="*/ 110 w 699"/>
              <a:gd name="T45" fmla="*/ 94 h 691"/>
              <a:gd name="T46" fmla="*/ 102 w 699"/>
              <a:gd name="T47" fmla="*/ 159 h 691"/>
              <a:gd name="T48" fmla="*/ 94 w 699"/>
              <a:gd name="T49" fmla="*/ 171 h 691"/>
              <a:gd name="T50" fmla="*/ 39 w 699"/>
              <a:gd name="T51" fmla="*/ 186 h 691"/>
              <a:gd name="T52" fmla="*/ 34 w 699"/>
              <a:gd name="T53" fmla="*/ 215 h 691"/>
              <a:gd name="T54" fmla="*/ 53 w 699"/>
              <a:gd name="T55" fmla="*/ 252 h 691"/>
              <a:gd name="T56" fmla="*/ 5 w 699"/>
              <a:gd name="T57" fmla="*/ 280 h 691"/>
              <a:gd name="T58" fmla="*/ 1 w 699"/>
              <a:gd name="T59" fmla="*/ 304 h 691"/>
              <a:gd name="T60" fmla="*/ 39 w 699"/>
              <a:gd name="T61" fmla="*/ 345 h 691"/>
              <a:gd name="T62" fmla="*/ 8 w 699"/>
              <a:gd name="T63" fmla="*/ 374 h 691"/>
              <a:gd name="T64" fmla="*/ 16 w 699"/>
              <a:gd name="T65" fmla="*/ 423 h 691"/>
              <a:gd name="T66" fmla="*/ 54 w 699"/>
              <a:gd name="T67" fmla="*/ 443 h 691"/>
              <a:gd name="T68" fmla="*/ 33 w 699"/>
              <a:gd name="T69" fmla="*/ 496 h 691"/>
              <a:gd name="T70" fmla="*/ 94 w 699"/>
              <a:gd name="T71" fmla="*/ 521 h 691"/>
              <a:gd name="T72" fmla="*/ 102 w 699"/>
              <a:gd name="T73" fmla="*/ 533 h 691"/>
              <a:gd name="T74" fmla="*/ 110 w 699"/>
              <a:gd name="T75" fmla="*/ 600 h 691"/>
              <a:gd name="T76" fmla="*/ 167 w 699"/>
              <a:gd name="T77" fmla="*/ 596 h 691"/>
              <a:gd name="T78" fmla="*/ 173 w 699"/>
              <a:gd name="T79" fmla="*/ 635 h 691"/>
              <a:gd name="T80" fmla="*/ 193 w 699"/>
              <a:gd name="T81" fmla="*/ 657 h 691"/>
              <a:gd name="T82" fmla="*/ 245 w 699"/>
              <a:gd name="T83" fmla="*/ 638 h 691"/>
              <a:gd name="T84" fmla="*/ 261 w 699"/>
              <a:gd name="T85" fmla="*/ 642 h 691"/>
              <a:gd name="T86" fmla="*/ 307 w 699"/>
              <a:gd name="T87" fmla="*/ 691 h 691"/>
              <a:gd name="T88" fmla="*/ 358 w 699"/>
              <a:gd name="T89" fmla="*/ 655 h 691"/>
              <a:gd name="T90" fmla="*/ 394 w 699"/>
              <a:gd name="T91" fmla="*/ 691 h 691"/>
              <a:gd name="T92" fmla="*/ 440 w 699"/>
              <a:gd name="T93" fmla="*/ 642 h 691"/>
              <a:gd name="T94" fmla="*/ 454 w 699"/>
              <a:gd name="T95" fmla="*/ 637 h 691"/>
              <a:gd name="T96" fmla="*/ 508 w 699"/>
              <a:gd name="T97" fmla="*/ 657 h 691"/>
              <a:gd name="T98" fmla="*/ 528 w 699"/>
              <a:gd name="T99" fmla="*/ 636 h 691"/>
              <a:gd name="T100" fmla="*/ 539 w 699"/>
              <a:gd name="T101" fmla="*/ 592 h 691"/>
              <a:gd name="T102" fmla="*/ 606 w 699"/>
              <a:gd name="T103" fmla="*/ 584 h 691"/>
              <a:gd name="T104" fmla="*/ 602 w 699"/>
              <a:gd name="T105" fmla="*/ 528 h 691"/>
              <a:gd name="T106" fmla="*/ 643 w 699"/>
              <a:gd name="T107" fmla="*/ 522 h 691"/>
              <a:gd name="T108" fmla="*/ 667 w 699"/>
              <a:gd name="T109" fmla="*/ 478 h 691"/>
              <a:gd name="T110" fmla="*/ 648 w 699"/>
              <a:gd name="T111" fmla="*/ 441 h 691"/>
              <a:gd name="T112" fmla="*/ 696 w 699"/>
              <a:gd name="T113" fmla="*/ 410 h 6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699" h="691">
                <a:moveTo>
                  <a:pt x="692" y="374"/>
                </a:moveTo>
                <a:cubicBezTo>
                  <a:pt x="662" y="354"/>
                  <a:pt x="662" y="354"/>
                  <a:pt x="662" y="354"/>
                </a:cubicBezTo>
                <a:cubicBezTo>
                  <a:pt x="662" y="347"/>
                  <a:pt x="662" y="347"/>
                  <a:pt x="662" y="347"/>
                </a:cubicBezTo>
                <a:cubicBezTo>
                  <a:pt x="662" y="346"/>
                  <a:pt x="662" y="346"/>
                  <a:pt x="662" y="345"/>
                </a:cubicBezTo>
                <a:cubicBezTo>
                  <a:pt x="662" y="339"/>
                  <a:pt x="662" y="339"/>
                  <a:pt x="662" y="339"/>
                </a:cubicBezTo>
                <a:cubicBezTo>
                  <a:pt x="691" y="320"/>
                  <a:pt x="691" y="320"/>
                  <a:pt x="691" y="320"/>
                </a:cubicBezTo>
                <a:cubicBezTo>
                  <a:pt x="696" y="316"/>
                  <a:pt x="699" y="310"/>
                  <a:pt x="698" y="304"/>
                </a:cubicBezTo>
                <a:cubicBezTo>
                  <a:pt x="696" y="282"/>
                  <a:pt x="696" y="282"/>
                  <a:pt x="696" y="282"/>
                </a:cubicBezTo>
                <a:cubicBezTo>
                  <a:pt x="695" y="276"/>
                  <a:pt x="691" y="271"/>
                  <a:pt x="684" y="269"/>
                </a:cubicBezTo>
                <a:cubicBezTo>
                  <a:pt x="650" y="259"/>
                  <a:pt x="650" y="259"/>
                  <a:pt x="650" y="259"/>
                </a:cubicBezTo>
                <a:cubicBezTo>
                  <a:pt x="650" y="259"/>
                  <a:pt x="650" y="259"/>
                  <a:pt x="650" y="258"/>
                </a:cubicBezTo>
                <a:cubicBezTo>
                  <a:pt x="645" y="243"/>
                  <a:pt x="645" y="243"/>
                  <a:pt x="645" y="243"/>
                </a:cubicBezTo>
                <a:cubicBezTo>
                  <a:pt x="667" y="215"/>
                  <a:pt x="667" y="215"/>
                  <a:pt x="667" y="215"/>
                </a:cubicBezTo>
                <a:cubicBezTo>
                  <a:pt x="671" y="211"/>
                  <a:pt x="671" y="204"/>
                  <a:pt x="668" y="198"/>
                </a:cubicBezTo>
                <a:cubicBezTo>
                  <a:pt x="663" y="188"/>
                  <a:pt x="663" y="188"/>
                  <a:pt x="663" y="188"/>
                </a:cubicBezTo>
                <a:cubicBezTo>
                  <a:pt x="663" y="187"/>
                  <a:pt x="663" y="187"/>
                  <a:pt x="662" y="186"/>
                </a:cubicBezTo>
                <a:cubicBezTo>
                  <a:pt x="657" y="179"/>
                  <a:pt x="657" y="179"/>
                  <a:pt x="657" y="179"/>
                </a:cubicBezTo>
                <a:cubicBezTo>
                  <a:pt x="654" y="174"/>
                  <a:pt x="649" y="171"/>
                  <a:pt x="644" y="171"/>
                </a:cubicBezTo>
                <a:cubicBezTo>
                  <a:pt x="607" y="171"/>
                  <a:pt x="607" y="171"/>
                  <a:pt x="607" y="171"/>
                </a:cubicBezTo>
                <a:cubicBezTo>
                  <a:pt x="603" y="165"/>
                  <a:pt x="603" y="165"/>
                  <a:pt x="603" y="165"/>
                </a:cubicBezTo>
                <a:cubicBezTo>
                  <a:pt x="603" y="165"/>
                  <a:pt x="602" y="165"/>
                  <a:pt x="602" y="165"/>
                </a:cubicBezTo>
                <a:cubicBezTo>
                  <a:pt x="599" y="160"/>
                  <a:pt x="599" y="160"/>
                  <a:pt x="599" y="160"/>
                </a:cubicBezTo>
                <a:cubicBezTo>
                  <a:pt x="610" y="126"/>
                  <a:pt x="610" y="126"/>
                  <a:pt x="610" y="126"/>
                </a:cubicBezTo>
                <a:cubicBezTo>
                  <a:pt x="612" y="120"/>
                  <a:pt x="610" y="113"/>
                  <a:pt x="606" y="109"/>
                </a:cubicBezTo>
                <a:cubicBezTo>
                  <a:pt x="591" y="94"/>
                  <a:pt x="591" y="94"/>
                  <a:pt x="591" y="94"/>
                </a:cubicBezTo>
                <a:cubicBezTo>
                  <a:pt x="586" y="89"/>
                  <a:pt x="580" y="88"/>
                  <a:pt x="574" y="90"/>
                </a:cubicBezTo>
                <a:cubicBezTo>
                  <a:pt x="540" y="101"/>
                  <a:pt x="540" y="101"/>
                  <a:pt x="540" y="101"/>
                </a:cubicBezTo>
                <a:cubicBezTo>
                  <a:pt x="540" y="101"/>
                  <a:pt x="539" y="101"/>
                  <a:pt x="539" y="100"/>
                </a:cubicBezTo>
                <a:cubicBezTo>
                  <a:pt x="533" y="97"/>
                  <a:pt x="533" y="97"/>
                  <a:pt x="533" y="97"/>
                </a:cubicBezTo>
                <a:cubicBezTo>
                  <a:pt x="528" y="93"/>
                  <a:pt x="528" y="93"/>
                  <a:pt x="528" y="93"/>
                </a:cubicBezTo>
                <a:cubicBezTo>
                  <a:pt x="528" y="56"/>
                  <a:pt x="528" y="56"/>
                  <a:pt x="528" y="56"/>
                </a:cubicBezTo>
                <a:cubicBezTo>
                  <a:pt x="528" y="50"/>
                  <a:pt x="525" y="44"/>
                  <a:pt x="519" y="42"/>
                </a:cubicBezTo>
                <a:cubicBezTo>
                  <a:pt x="509" y="37"/>
                  <a:pt x="509" y="37"/>
                  <a:pt x="509" y="37"/>
                </a:cubicBezTo>
                <a:cubicBezTo>
                  <a:pt x="509" y="36"/>
                  <a:pt x="509" y="36"/>
                  <a:pt x="508" y="36"/>
                </a:cubicBezTo>
                <a:cubicBezTo>
                  <a:pt x="499" y="32"/>
                  <a:pt x="499" y="32"/>
                  <a:pt x="499" y="32"/>
                </a:cubicBezTo>
                <a:cubicBezTo>
                  <a:pt x="494" y="30"/>
                  <a:pt x="488" y="31"/>
                  <a:pt x="484" y="34"/>
                </a:cubicBezTo>
                <a:cubicBezTo>
                  <a:pt x="454" y="55"/>
                  <a:pt x="454" y="55"/>
                  <a:pt x="454" y="55"/>
                </a:cubicBezTo>
                <a:cubicBezTo>
                  <a:pt x="449" y="53"/>
                  <a:pt x="449" y="53"/>
                  <a:pt x="449" y="53"/>
                </a:cubicBezTo>
                <a:cubicBezTo>
                  <a:pt x="448" y="52"/>
                  <a:pt x="447" y="52"/>
                  <a:pt x="447" y="52"/>
                </a:cubicBezTo>
                <a:cubicBezTo>
                  <a:pt x="440" y="50"/>
                  <a:pt x="440" y="50"/>
                  <a:pt x="440" y="50"/>
                </a:cubicBezTo>
                <a:cubicBezTo>
                  <a:pt x="428" y="16"/>
                  <a:pt x="428" y="16"/>
                  <a:pt x="428" y="16"/>
                </a:cubicBezTo>
                <a:cubicBezTo>
                  <a:pt x="427" y="11"/>
                  <a:pt x="422" y="7"/>
                  <a:pt x="417" y="6"/>
                </a:cubicBezTo>
                <a:cubicBezTo>
                  <a:pt x="407" y="3"/>
                  <a:pt x="407" y="3"/>
                  <a:pt x="407" y="3"/>
                </a:cubicBezTo>
                <a:cubicBezTo>
                  <a:pt x="406" y="3"/>
                  <a:pt x="405" y="3"/>
                  <a:pt x="405" y="3"/>
                </a:cubicBezTo>
                <a:cubicBezTo>
                  <a:pt x="394" y="1"/>
                  <a:pt x="394" y="1"/>
                  <a:pt x="394" y="1"/>
                </a:cubicBezTo>
                <a:cubicBezTo>
                  <a:pt x="388" y="1"/>
                  <a:pt x="383" y="3"/>
                  <a:pt x="379" y="8"/>
                </a:cubicBezTo>
                <a:cubicBezTo>
                  <a:pt x="359" y="38"/>
                  <a:pt x="359" y="38"/>
                  <a:pt x="359" y="38"/>
                </a:cubicBezTo>
                <a:cubicBezTo>
                  <a:pt x="352" y="37"/>
                  <a:pt x="352" y="37"/>
                  <a:pt x="352" y="37"/>
                </a:cubicBezTo>
                <a:cubicBezTo>
                  <a:pt x="352" y="37"/>
                  <a:pt x="351" y="37"/>
                  <a:pt x="350" y="37"/>
                </a:cubicBezTo>
                <a:cubicBezTo>
                  <a:pt x="342" y="38"/>
                  <a:pt x="342" y="38"/>
                  <a:pt x="342" y="38"/>
                </a:cubicBezTo>
                <a:cubicBezTo>
                  <a:pt x="322" y="8"/>
                  <a:pt x="322" y="8"/>
                  <a:pt x="322" y="8"/>
                </a:cubicBezTo>
                <a:cubicBezTo>
                  <a:pt x="318" y="3"/>
                  <a:pt x="312" y="0"/>
                  <a:pt x="306" y="2"/>
                </a:cubicBezTo>
                <a:cubicBezTo>
                  <a:pt x="285" y="5"/>
                  <a:pt x="285" y="5"/>
                  <a:pt x="285" y="5"/>
                </a:cubicBezTo>
                <a:cubicBezTo>
                  <a:pt x="279" y="7"/>
                  <a:pt x="275" y="11"/>
                  <a:pt x="273" y="16"/>
                </a:cubicBezTo>
                <a:cubicBezTo>
                  <a:pt x="262" y="50"/>
                  <a:pt x="262" y="50"/>
                  <a:pt x="262" y="50"/>
                </a:cubicBezTo>
                <a:cubicBezTo>
                  <a:pt x="261" y="50"/>
                  <a:pt x="261" y="50"/>
                  <a:pt x="261" y="50"/>
                </a:cubicBezTo>
                <a:cubicBezTo>
                  <a:pt x="253" y="52"/>
                  <a:pt x="253" y="52"/>
                  <a:pt x="253" y="52"/>
                </a:cubicBezTo>
                <a:cubicBezTo>
                  <a:pt x="253" y="52"/>
                  <a:pt x="253" y="53"/>
                  <a:pt x="253" y="53"/>
                </a:cubicBezTo>
                <a:cubicBezTo>
                  <a:pt x="247" y="55"/>
                  <a:pt x="247" y="55"/>
                  <a:pt x="247" y="55"/>
                </a:cubicBezTo>
                <a:cubicBezTo>
                  <a:pt x="217" y="34"/>
                  <a:pt x="217" y="34"/>
                  <a:pt x="217" y="34"/>
                </a:cubicBezTo>
                <a:cubicBezTo>
                  <a:pt x="213" y="31"/>
                  <a:pt x="207" y="30"/>
                  <a:pt x="202" y="32"/>
                </a:cubicBezTo>
                <a:cubicBezTo>
                  <a:pt x="193" y="36"/>
                  <a:pt x="193" y="36"/>
                  <a:pt x="193" y="36"/>
                </a:cubicBezTo>
                <a:cubicBezTo>
                  <a:pt x="192" y="36"/>
                  <a:pt x="192" y="36"/>
                  <a:pt x="192" y="37"/>
                </a:cubicBezTo>
                <a:cubicBezTo>
                  <a:pt x="181" y="42"/>
                  <a:pt x="181" y="42"/>
                  <a:pt x="181" y="42"/>
                </a:cubicBezTo>
                <a:cubicBezTo>
                  <a:pt x="176" y="45"/>
                  <a:pt x="172" y="50"/>
                  <a:pt x="173" y="57"/>
                </a:cubicBezTo>
                <a:cubicBezTo>
                  <a:pt x="174" y="93"/>
                  <a:pt x="174" y="93"/>
                  <a:pt x="174" y="93"/>
                </a:cubicBezTo>
                <a:cubicBezTo>
                  <a:pt x="162" y="101"/>
                  <a:pt x="162" y="101"/>
                  <a:pt x="162" y="101"/>
                </a:cubicBezTo>
                <a:cubicBezTo>
                  <a:pt x="127" y="90"/>
                  <a:pt x="127" y="90"/>
                  <a:pt x="127" y="90"/>
                </a:cubicBezTo>
                <a:cubicBezTo>
                  <a:pt x="121" y="88"/>
                  <a:pt x="115" y="89"/>
                  <a:pt x="110" y="94"/>
                </a:cubicBezTo>
                <a:cubicBezTo>
                  <a:pt x="95" y="109"/>
                  <a:pt x="95" y="109"/>
                  <a:pt x="95" y="109"/>
                </a:cubicBezTo>
                <a:cubicBezTo>
                  <a:pt x="90" y="113"/>
                  <a:pt x="89" y="120"/>
                  <a:pt x="91" y="126"/>
                </a:cubicBezTo>
                <a:cubicBezTo>
                  <a:pt x="102" y="159"/>
                  <a:pt x="102" y="159"/>
                  <a:pt x="102" y="159"/>
                </a:cubicBezTo>
                <a:cubicBezTo>
                  <a:pt x="102" y="159"/>
                  <a:pt x="102" y="160"/>
                  <a:pt x="101" y="160"/>
                </a:cubicBezTo>
                <a:cubicBezTo>
                  <a:pt x="98" y="166"/>
                  <a:pt x="98" y="166"/>
                  <a:pt x="98" y="166"/>
                </a:cubicBezTo>
                <a:cubicBezTo>
                  <a:pt x="94" y="171"/>
                  <a:pt x="94" y="171"/>
                  <a:pt x="94" y="171"/>
                </a:cubicBezTo>
                <a:cubicBezTo>
                  <a:pt x="57" y="171"/>
                  <a:pt x="57" y="171"/>
                  <a:pt x="57" y="171"/>
                </a:cubicBezTo>
                <a:cubicBezTo>
                  <a:pt x="52" y="171"/>
                  <a:pt x="47" y="174"/>
                  <a:pt x="44" y="179"/>
                </a:cubicBezTo>
                <a:cubicBezTo>
                  <a:pt x="39" y="186"/>
                  <a:pt x="39" y="186"/>
                  <a:pt x="39" y="186"/>
                </a:cubicBezTo>
                <a:cubicBezTo>
                  <a:pt x="38" y="187"/>
                  <a:pt x="38" y="187"/>
                  <a:pt x="38" y="188"/>
                </a:cubicBezTo>
                <a:cubicBezTo>
                  <a:pt x="32" y="198"/>
                  <a:pt x="32" y="198"/>
                  <a:pt x="32" y="198"/>
                </a:cubicBezTo>
                <a:cubicBezTo>
                  <a:pt x="30" y="204"/>
                  <a:pt x="30" y="211"/>
                  <a:pt x="34" y="215"/>
                </a:cubicBezTo>
                <a:cubicBezTo>
                  <a:pt x="56" y="243"/>
                  <a:pt x="56" y="243"/>
                  <a:pt x="56" y="243"/>
                </a:cubicBezTo>
                <a:cubicBezTo>
                  <a:pt x="53" y="251"/>
                  <a:pt x="53" y="251"/>
                  <a:pt x="53" y="251"/>
                </a:cubicBezTo>
                <a:cubicBezTo>
                  <a:pt x="53" y="251"/>
                  <a:pt x="53" y="252"/>
                  <a:pt x="53" y="252"/>
                </a:cubicBezTo>
                <a:cubicBezTo>
                  <a:pt x="52" y="258"/>
                  <a:pt x="52" y="258"/>
                  <a:pt x="52" y="258"/>
                </a:cubicBezTo>
                <a:cubicBezTo>
                  <a:pt x="17" y="269"/>
                  <a:pt x="17" y="269"/>
                  <a:pt x="17" y="269"/>
                </a:cubicBezTo>
                <a:cubicBezTo>
                  <a:pt x="11" y="270"/>
                  <a:pt x="7" y="275"/>
                  <a:pt x="5" y="280"/>
                </a:cubicBezTo>
                <a:cubicBezTo>
                  <a:pt x="3" y="291"/>
                  <a:pt x="3" y="291"/>
                  <a:pt x="3" y="291"/>
                </a:cubicBezTo>
                <a:cubicBezTo>
                  <a:pt x="3" y="291"/>
                  <a:pt x="3" y="292"/>
                  <a:pt x="2" y="293"/>
                </a:cubicBezTo>
                <a:cubicBezTo>
                  <a:pt x="1" y="304"/>
                  <a:pt x="1" y="304"/>
                  <a:pt x="1" y="304"/>
                </a:cubicBezTo>
                <a:cubicBezTo>
                  <a:pt x="1" y="310"/>
                  <a:pt x="3" y="316"/>
                  <a:pt x="9" y="320"/>
                </a:cubicBezTo>
                <a:cubicBezTo>
                  <a:pt x="39" y="339"/>
                  <a:pt x="39" y="339"/>
                  <a:pt x="39" y="339"/>
                </a:cubicBezTo>
                <a:cubicBezTo>
                  <a:pt x="39" y="345"/>
                  <a:pt x="39" y="345"/>
                  <a:pt x="39" y="345"/>
                </a:cubicBezTo>
                <a:cubicBezTo>
                  <a:pt x="38" y="346"/>
                  <a:pt x="38" y="346"/>
                  <a:pt x="39" y="347"/>
                </a:cubicBezTo>
                <a:cubicBezTo>
                  <a:pt x="39" y="353"/>
                  <a:pt x="39" y="353"/>
                  <a:pt x="39" y="353"/>
                </a:cubicBezTo>
                <a:cubicBezTo>
                  <a:pt x="8" y="374"/>
                  <a:pt x="8" y="374"/>
                  <a:pt x="8" y="374"/>
                </a:cubicBezTo>
                <a:cubicBezTo>
                  <a:pt x="3" y="377"/>
                  <a:pt x="0" y="384"/>
                  <a:pt x="1" y="390"/>
                </a:cubicBezTo>
                <a:cubicBezTo>
                  <a:pt x="5" y="411"/>
                  <a:pt x="5" y="411"/>
                  <a:pt x="5" y="411"/>
                </a:cubicBezTo>
                <a:cubicBezTo>
                  <a:pt x="6" y="417"/>
                  <a:pt x="10" y="421"/>
                  <a:pt x="16" y="423"/>
                </a:cubicBezTo>
                <a:cubicBezTo>
                  <a:pt x="52" y="435"/>
                  <a:pt x="52" y="435"/>
                  <a:pt x="52" y="435"/>
                </a:cubicBezTo>
                <a:cubicBezTo>
                  <a:pt x="53" y="440"/>
                  <a:pt x="53" y="440"/>
                  <a:pt x="53" y="440"/>
                </a:cubicBezTo>
                <a:cubicBezTo>
                  <a:pt x="53" y="441"/>
                  <a:pt x="53" y="442"/>
                  <a:pt x="54" y="443"/>
                </a:cubicBezTo>
                <a:cubicBezTo>
                  <a:pt x="56" y="449"/>
                  <a:pt x="56" y="449"/>
                  <a:pt x="56" y="449"/>
                </a:cubicBezTo>
                <a:cubicBezTo>
                  <a:pt x="34" y="478"/>
                  <a:pt x="34" y="478"/>
                  <a:pt x="34" y="478"/>
                </a:cubicBezTo>
                <a:cubicBezTo>
                  <a:pt x="30" y="483"/>
                  <a:pt x="30" y="490"/>
                  <a:pt x="33" y="496"/>
                </a:cubicBezTo>
                <a:cubicBezTo>
                  <a:pt x="43" y="514"/>
                  <a:pt x="43" y="514"/>
                  <a:pt x="43" y="514"/>
                </a:cubicBezTo>
                <a:cubicBezTo>
                  <a:pt x="46" y="519"/>
                  <a:pt x="52" y="522"/>
                  <a:pt x="58" y="522"/>
                </a:cubicBezTo>
                <a:cubicBezTo>
                  <a:pt x="94" y="521"/>
                  <a:pt x="94" y="521"/>
                  <a:pt x="94" y="521"/>
                </a:cubicBezTo>
                <a:cubicBezTo>
                  <a:pt x="98" y="527"/>
                  <a:pt x="98" y="527"/>
                  <a:pt x="98" y="527"/>
                </a:cubicBezTo>
                <a:cubicBezTo>
                  <a:pt x="98" y="528"/>
                  <a:pt x="98" y="528"/>
                  <a:pt x="99" y="529"/>
                </a:cubicBezTo>
                <a:cubicBezTo>
                  <a:pt x="102" y="533"/>
                  <a:pt x="102" y="533"/>
                  <a:pt x="102" y="533"/>
                </a:cubicBezTo>
                <a:cubicBezTo>
                  <a:pt x="91" y="568"/>
                  <a:pt x="91" y="568"/>
                  <a:pt x="91" y="568"/>
                </a:cubicBezTo>
                <a:cubicBezTo>
                  <a:pt x="89" y="573"/>
                  <a:pt x="90" y="580"/>
                  <a:pt x="95" y="584"/>
                </a:cubicBezTo>
                <a:cubicBezTo>
                  <a:pt x="110" y="600"/>
                  <a:pt x="110" y="600"/>
                  <a:pt x="110" y="600"/>
                </a:cubicBezTo>
                <a:cubicBezTo>
                  <a:pt x="115" y="604"/>
                  <a:pt x="121" y="605"/>
                  <a:pt x="127" y="603"/>
                </a:cubicBezTo>
                <a:cubicBezTo>
                  <a:pt x="162" y="592"/>
                  <a:pt x="162" y="592"/>
                  <a:pt x="162" y="592"/>
                </a:cubicBezTo>
                <a:cubicBezTo>
                  <a:pt x="167" y="596"/>
                  <a:pt x="167" y="596"/>
                  <a:pt x="167" y="596"/>
                </a:cubicBezTo>
                <a:cubicBezTo>
                  <a:pt x="167" y="596"/>
                  <a:pt x="168" y="596"/>
                  <a:pt x="168" y="596"/>
                </a:cubicBezTo>
                <a:cubicBezTo>
                  <a:pt x="174" y="600"/>
                  <a:pt x="174" y="600"/>
                  <a:pt x="174" y="600"/>
                </a:cubicBezTo>
                <a:cubicBezTo>
                  <a:pt x="173" y="635"/>
                  <a:pt x="173" y="635"/>
                  <a:pt x="173" y="635"/>
                </a:cubicBezTo>
                <a:cubicBezTo>
                  <a:pt x="172" y="641"/>
                  <a:pt x="175" y="647"/>
                  <a:pt x="180" y="650"/>
                </a:cubicBezTo>
                <a:cubicBezTo>
                  <a:pt x="190" y="656"/>
                  <a:pt x="190" y="656"/>
                  <a:pt x="190" y="656"/>
                </a:cubicBezTo>
                <a:cubicBezTo>
                  <a:pt x="191" y="656"/>
                  <a:pt x="192" y="657"/>
                  <a:pt x="193" y="657"/>
                </a:cubicBezTo>
                <a:cubicBezTo>
                  <a:pt x="202" y="661"/>
                  <a:pt x="202" y="661"/>
                  <a:pt x="202" y="661"/>
                </a:cubicBezTo>
                <a:cubicBezTo>
                  <a:pt x="207" y="663"/>
                  <a:pt x="213" y="663"/>
                  <a:pt x="218" y="659"/>
                </a:cubicBezTo>
                <a:cubicBezTo>
                  <a:pt x="245" y="638"/>
                  <a:pt x="245" y="638"/>
                  <a:pt x="245" y="638"/>
                </a:cubicBezTo>
                <a:cubicBezTo>
                  <a:pt x="246" y="639"/>
                  <a:pt x="247" y="639"/>
                  <a:pt x="248" y="639"/>
                </a:cubicBezTo>
                <a:cubicBezTo>
                  <a:pt x="254" y="640"/>
                  <a:pt x="254" y="640"/>
                  <a:pt x="254" y="640"/>
                </a:cubicBezTo>
                <a:cubicBezTo>
                  <a:pt x="261" y="642"/>
                  <a:pt x="261" y="642"/>
                  <a:pt x="261" y="642"/>
                </a:cubicBezTo>
                <a:cubicBezTo>
                  <a:pt x="273" y="677"/>
                  <a:pt x="273" y="677"/>
                  <a:pt x="273" y="677"/>
                </a:cubicBezTo>
                <a:cubicBezTo>
                  <a:pt x="275" y="683"/>
                  <a:pt x="280" y="687"/>
                  <a:pt x="286" y="688"/>
                </a:cubicBezTo>
                <a:cubicBezTo>
                  <a:pt x="307" y="691"/>
                  <a:pt x="307" y="691"/>
                  <a:pt x="307" y="691"/>
                </a:cubicBezTo>
                <a:cubicBezTo>
                  <a:pt x="312" y="691"/>
                  <a:pt x="318" y="689"/>
                  <a:pt x="322" y="684"/>
                </a:cubicBezTo>
                <a:cubicBezTo>
                  <a:pt x="343" y="655"/>
                  <a:pt x="343" y="655"/>
                  <a:pt x="343" y="655"/>
                </a:cubicBezTo>
                <a:cubicBezTo>
                  <a:pt x="358" y="655"/>
                  <a:pt x="358" y="655"/>
                  <a:pt x="358" y="655"/>
                </a:cubicBezTo>
                <a:cubicBezTo>
                  <a:pt x="379" y="684"/>
                  <a:pt x="379" y="684"/>
                  <a:pt x="379" y="684"/>
                </a:cubicBezTo>
                <a:cubicBezTo>
                  <a:pt x="382" y="688"/>
                  <a:pt x="387" y="691"/>
                  <a:pt x="392" y="691"/>
                </a:cubicBezTo>
                <a:cubicBezTo>
                  <a:pt x="393" y="691"/>
                  <a:pt x="394" y="691"/>
                  <a:pt x="394" y="691"/>
                </a:cubicBezTo>
                <a:cubicBezTo>
                  <a:pt x="415" y="688"/>
                  <a:pt x="415" y="688"/>
                  <a:pt x="415" y="688"/>
                </a:cubicBezTo>
                <a:cubicBezTo>
                  <a:pt x="421" y="687"/>
                  <a:pt x="426" y="683"/>
                  <a:pt x="428" y="677"/>
                </a:cubicBezTo>
                <a:cubicBezTo>
                  <a:pt x="440" y="642"/>
                  <a:pt x="440" y="642"/>
                  <a:pt x="440" y="642"/>
                </a:cubicBezTo>
                <a:cubicBezTo>
                  <a:pt x="448" y="640"/>
                  <a:pt x="448" y="640"/>
                  <a:pt x="448" y="640"/>
                </a:cubicBezTo>
                <a:cubicBezTo>
                  <a:pt x="448" y="640"/>
                  <a:pt x="448" y="639"/>
                  <a:pt x="448" y="639"/>
                </a:cubicBezTo>
                <a:cubicBezTo>
                  <a:pt x="454" y="637"/>
                  <a:pt x="454" y="637"/>
                  <a:pt x="454" y="637"/>
                </a:cubicBezTo>
                <a:cubicBezTo>
                  <a:pt x="483" y="659"/>
                  <a:pt x="483" y="659"/>
                  <a:pt x="483" y="659"/>
                </a:cubicBezTo>
                <a:cubicBezTo>
                  <a:pt x="488" y="663"/>
                  <a:pt x="494" y="663"/>
                  <a:pt x="499" y="661"/>
                </a:cubicBezTo>
                <a:cubicBezTo>
                  <a:pt x="508" y="657"/>
                  <a:pt x="508" y="657"/>
                  <a:pt x="508" y="657"/>
                </a:cubicBezTo>
                <a:cubicBezTo>
                  <a:pt x="509" y="657"/>
                  <a:pt x="510" y="656"/>
                  <a:pt x="510" y="656"/>
                </a:cubicBezTo>
                <a:cubicBezTo>
                  <a:pt x="521" y="650"/>
                  <a:pt x="521" y="650"/>
                  <a:pt x="521" y="650"/>
                </a:cubicBezTo>
                <a:cubicBezTo>
                  <a:pt x="525" y="647"/>
                  <a:pt x="528" y="641"/>
                  <a:pt x="528" y="636"/>
                </a:cubicBezTo>
                <a:cubicBezTo>
                  <a:pt x="528" y="600"/>
                  <a:pt x="528" y="600"/>
                  <a:pt x="528" y="600"/>
                </a:cubicBezTo>
                <a:cubicBezTo>
                  <a:pt x="533" y="596"/>
                  <a:pt x="533" y="596"/>
                  <a:pt x="533" y="596"/>
                </a:cubicBezTo>
                <a:cubicBezTo>
                  <a:pt x="539" y="592"/>
                  <a:pt x="539" y="592"/>
                  <a:pt x="539" y="592"/>
                </a:cubicBezTo>
                <a:cubicBezTo>
                  <a:pt x="574" y="603"/>
                  <a:pt x="574" y="603"/>
                  <a:pt x="574" y="603"/>
                </a:cubicBezTo>
                <a:cubicBezTo>
                  <a:pt x="580" y="605"/>
                  <a:pt x="586" y="604"/>
                  <a:pt x="591" y="600"/>
                </a:cubicBezTo>
                <a:cubicBezTo>
                  <a:pt x="606" y="584"/>
                  <a:pt x="606" y="584"/>
                  <a:pt x="606" y="584"/>
                </a:cubicBezTo>
                <a:cubicBezTo>
                  <a:pt x="610" y="580"/>
                  <a:pt x="612" y="573"/>
                  <a:pt x="610" y="568"/>
                </a:cubicBezTo>
                <a:cubicBezTo>
                  <a:pt x="599" y="533"/>
                  <a:pt x="599" y="533"/>
                  <a:pt x="599" y="533"/>
                </a:cubicBezTo>
                <a:cubicBezTo>
                  <a:pt x="602" y="528"/>
                  <a:pt x="602" y="528"/>
                  <a:pt x="602" y="528"/>
                </a:cubicBezTo>
                <a:cubicBezTo>
                  <a:pt x="603" y="528"/>
                  <a:pt x="603" y="528"/>
                  <a:pt x="603" y="527"/>
                </a:cubicBezTo>
                <a:cubicBezTo>
                  <a:pt x="607" y="521"/>
                  <a:pt x="607" y="521"/>
                  <a:pt x="607" y="521"/>
                </a:cubicBezTo>
                <a:cubicBezTo>
                  <a:pt x="643" y="522"/>
                  <a:pt x="643" y="522"/>
                  <a:pt x="643" y="522"/>
                </a:cubicBezTo>
                <a:cubicBezTo>
                  <a:pt x="649" y="522"/>
                  <a:pt x="655" y="519"/>
                  <a:pt x="658" y="514"/>
                </a:cubicBezTo>
                <a:cubicBezTo>
                  <a:pt x="668" y="496"/>
                  <a:pt x="668" y="496"/>
                  <a:pt x="668" y="496"/>
                </a:cubicBezTo>
                <a:cubicBezTo>
                  <a:pt x="671" y="490"/>
                  <a:pt x="671" y="483"/>
                  <a:pt x="667" y="478"/>
                </a:cubicBezTo>
                <a:cubicBezTo>
                  <a:pt x="645" y="449"/>
                  <a:pt x="645" y="449"/>
                  <a:pt x="645" y="449"/>
                </a:cubicBezTo>
                <a:cubicBezTo>
                  <a:pt x="647" y="443"/>
                  <a:pt x="647" y="443"/>
                  <a:pt x="647" y="443"/>
                </a:cubicBezTo>
                <a:cubicBezTo>
                  <a:pt x="647" y="443"/>
                  <a:pt x="648" y="442"/>
                  <a:pt x="648" y="441"/>
                </a:cubicBezTo>
                <a:cubicBezTo>
                  <a:pt x="649" y="435"/>
                  <a:pt x="649" y="435"/>
                  <a:pt x="649" y="435"/>
                </a:cubicBezTo>
                <a:cubicBezTo>
                  <a:pt x="685" y="423"/>
                  <a:pt x="685" y="423"/>
                  <a:pt x="685" y="423"/>
                </a:cubicBezTo>
                <a:cubicBezTo>
                  <a:pt x="691" y="421"/>
                  <a:pt x="695" y="416"/>
                  <a:pt x="696" y="410"/>
                </a:cubicBezTo>
                <a:cubicBezTo>
                  <a:pt x="698" y="389"/>
                  <a:pt x="698" y="389"/>
                  <a:pt x="698" y="389"/>
                </a:cubicBezTo>
                <a:cubicBezTo>
                  <a:pt x="699" y="383"/>
                  <a:pt x="697" y="377"/>
                  <a:pt x="692" y="37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CH" sz="1600" dirty="0"/>
          </a:p>
        </p:txBody>
      </p:sp>
      <p:sp>
        <p:nvSpPr>
          <p:cNvPr id="72" name="Oval 54"/>
          <p:cNvSpPr>
            <a:spLocks noChangeAspect="1" noChangeArrowheads="1"/>
          </p:cNvSpPr>
          <p:nvPr>
            <p:custDataLst>
              <p:tags r:id="rId7"/>
            </p:custDataLst>
          </p:nvPr>
        </p:nvSpPr>
        <p:spPr bwMode="gray">
          <a:xfrm>
            <a:off x="4493800" y="1681828"/>
            <a:ext cx="1080000" cy="1081402"/>
          </a:xfrm>
          <a:prstGeom prst="ellipse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/>
          <a:lstStyle/>
          <a:p>
            <a:pPr algn="ctr"/>
            <a:r>
              <a:rPr lang="fr-CH" sz="1600" b="1" dirty="0" smtClean="0">
                <a:solidFill>
                  <a:schemeClr val="accent1"/>
                </a:solidFill>
              </a:rPr>
              <a:t>titre</a:t>
            </a:r>
            <a:endParaRPr lang="fr-CH" sz="1600" b="1" dirty="0">
              <a:solidFill>
                <a:schemeClr val="accent1"/>
              </a:solidFill>
            </a:endParaRPr>
          </a:p>
        </p:txBody>
      </p:sp>
      <p:sp>
        <p:nvSpPr>
          <p:cNvPr id="32" name="Oval 29"/>
          <p:cNvSpPr>
            <a:spLocks noChangeArrowheads="1"/>
          </p:cNvSpPr>
          <p:nvPr/>
        </p:nvSpPr>
        <p:spPr bwMode="gray">
          <a:xfrm>
            <a:off x="5491178" y="3182844"/>
            <a:ext cx="1211452" cy="1208329"/>
          </a:xfrm>
          <a:prstGeom prst="ellipse">
            <a:avLst/>
          </a:prstGeom>
          <a:solidFill>
            <a:schemeClr val="bg1"/>
          </a:solidFill>
          <a:ln w="76200">
            <a:solidFill>
              <a:schemeClr val="bg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CH" sz="1600" dirty="0">
              <a:solidFill>
                <a:srgbClr val="000000"/>
              </a:solidFill>
            </a:endParaRPr>
          </a:p>
        </p:txBody>
      </p:sp>
      <p:sp>
        <p:nvSpPr>
          <p:cNvPr id="68" name="Freeform 5"/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6420200" y="1484529"/>
            <a:ext cx="1476000" cy="1476000"/>
          </a:xfrm>
          <a:custGeom>
            <a:avLst/>
            <a:gdLst>
              <a:gd name="T0" fmla="*/ 662 w 699"/>
              <a:gd name="T1" fmla="*/ 347 h 691"/>
              <a:gd name="T2" fmla="*/ 691 w 699"/>
              <a:gd name="T3" fmla="*/ 320 h 691"/>
              <a:gd name="T4" fmla="*/ 684 w 699"/>
              <a:gd name="T5" fmla="*/ 269 h 691"/>
              <a:gd name="T6" fmla="*/ 645 w 699"/>
              <a:gd name="T7" fmla="*/ 243 h 691"/>
              <a:gd name="T8" fmla="*/ 663 w 699"/>
              <a:gd name="T9" fmla="*/ 188 h 691"/>
              <a:gd name="T10" fmla="*/ 644 w 699"/>
              <a:gd name="T11" fmla="*/ 171 h 691"/>
              <a:gd name="T12" fmla="*/ 602 w 699"/>
              <a:gd name="T13" fmla="*/ 165 h 691"/>
              <a:gd name="T14" fmla="*/ 606 w 699"/>
              <a:gd name="T15" fmla="*/ 109 h 691"/>
              <a:gd name="T16" fmla="*/ 540 w 699"/>
              <a:gd name="T17" fmla="*/ 101 h 691"/>
              <a:gd name="T18" fmla="*/ 528 w 699"/>
              <a:gd name="T19" fmla="*/ 93 h 691"/>
              <a:gd name="T20" fmla="*/ 509 w 699"/>
              <a:gd name="T21" fmla="*/ 37 h 691"/>
              <a:gd name="T22" fmla="*/ 484 w 699"/>
              <a:gd name="T23" fmla="*/ 34 h 691"/>
              <a:gd name="T24" fmla="*/ 447 w 699"/>
              <a:gd name="T25" fmla="*/ 52 h 691"/>
              <a:gd name="T26" fmla="*/ 417 w 699"/>
              <a:gd name="T27" fmla="*/ 6 h 691"/>
              <a:gd name="T28" fmla="*/ 394 w 699"/>
              <a:gd name="T29" fmla="*/ 1 h 691"/>
              <a:gd name="T30" fmla="*/ 352 w 699"/>
              <a:gd name="T31" fmla="*/ 37 h 691"/>
              <a:gd name="T32" fmla="*/ 322 w 699"/>
              <a:gd name="T33" fmla="*/ 8 h 691"/>
              <a:gd name="T34" fmla="*/ 273 w 699"/>
              <a:gd name="T35" fmla="*/ 16 h 691"/>
              <a:gd name="T36" fmla="*/ 253 w 699"/>
              <a:gd name="T37" fmla="*/ 52 h 691"/>
              <a:gd name="T38" fmla="*/ 217 w 699"/>
              <a:gd name="T39" fmla="*/ 34 h 691"/>
              <a:gd name="T40" fmla="*/ 192 w 699"/>
              <a:gd name="T41" fmla="*/ 37 h 691"/>
              <a:gd name="T42" fmla="*/ 174 w 699"/>
              <a:gd name="T43" fmla="*/ 93 h 691"/>
              <a:gd name="T44" fmla="*/ 110 w 699"/>
              <a:gd name="T45" fmla="*/ 94 h 691"/>
              <a:gd name="T46" fmla="*/ 102 w 699"/>
              <a:gd name="T47" fmla="*/ 159 h 691"/>
              <a:gd name="T48" fmla="*/ 94 w 699"/>
              <a:gd name="T49" fmla="*/ 171 h 691"/>
              <a:gd name="T50" fmla="*/ 39 w 699"/>
              <a:gd name="T51" fmla="*/ 186 h 691"/>
              <a:gd name="T52" fmla="*/ 34 w 699"/>
              <a:gd name="T53" fmla="*/ 215 h 691"/>
              <a:gd name="T54" fmla="*/ 53 w 699"/>
              <a:gd name="T55" fmla="*/ 252 h 691"/>
              <a:gd name="T56" fmla="*/ 5 w 699"/>
              <a:gd name="T57" fmla="*/ 280 h 691"/>
              <a:gd name="T58" fmla="*/ 1 w 699"/>
              <a:gd name="T59" fmla="*/ 304 h 691"/>
              <a:gd name="T60" fmla="*/ 39 w 699"/>
              <a:gd name="T61" fmla="*/ 345 h 691"/>
              <a:gd name="T62" fmla="*/ 8 w 699"/>
              <a:gd name="T63" fmla="*/ 374 h 691"/>
              <a:gd name="T64" fmla="*/ 16 w 699"/>
              <a:gd name="T65" fmla="*/ 423 h 691"/>
              <a:gd name="T66" fmla="*/ 54 w 699"/>
              <a:gd name="T67" fmla="*/ 443 h 691"/>
              <a:gd name="T68" fmla="*/ 33 w 699"/>
              <a:gd name="T69" fmla="*/ 496 h 691"/>
              <a:gd name="T70" fmla="*/ 94 w 699"/>
              <a:gd name="T71" fmla="*/ 521 h 691"/>
              <a:gd name="T72" fmla="*/ 102 w 699"/>
              <a:gd name="T73" fmla="*/ 533 h 691"/>
              <a:gd name="T74" fmla="*/ 110 w 699"/>
              <a:gd name="T75" fmla="*/ 600 h 691"/>
              <a:gd name="T76" fmla="*/ 167 w 699"/>
              <a:gd name="T77" fmla="*/ 596 h 691"/>
              <a:gd name="T78" fmla="*/ 173 w 699"/>
              <a:gd name="T79" fmla="*/ 635 h 691"/>
              <a:gd name="T80" fmla="*/ 193 w 699"/>
              <a:gd name="T81" fmla="*/ 657 h 691"/>
              <a:gd name="T82" fmla="*/ 245 w 699"/>
              <a:gd name="T83" fmla="*/ 638 h 691"/>
              <a:gd name="T84" fmla="*/ 261 w 699"/>
              <a:gd name="T85" fmla="*/ 642 h 691"/>
              <a:gd name="T86" fmla="*/ 307 w 699"/>
              <a:gd name="T87" fmla="*/ 691 h 691"/>
              <a:gd name="T88" fmla="*/ 358 w 699"/>
              <a:gd name="T89" fmla="*/ 655 h 691"/>
              <a:gd name="T90" fmla="*/ 394 w 699"/>
              <a:gd name="T91" fmla="*/ 691 h 691"/>
              <a:gd name="T92" fmla="*/ 440 w 699"/>
              <a:gd name="T93" fmla="*/ 642 h 691"/>
              <a:gd name="T94" fmla="*/ 454 w 699"/>
              <a:gd name="T95" fmla="*/ 637 h 691"/>
              <a:gd name="T96" fmla="*/ 508 w 699"/>
              <a:gd name="T97" fmla="*/ 657 h 691"/>
              <a:gd name="T98" fmla="*/ 528 w 699"/>
              <a:gd name="T99" fmla="*/ 636 h 691"/>
              <a:gd name="T100" fmla="*/ 539 w 699"/>
              <a:gd name="T101" fmla="*/ 592 h 691"/>
              <a:gd name="T102" fmla="*/ 606 w 699"/>
              <a:gd name="T103" fmla="*/ 584 h 691"/>
              <a:gd name="T104" fmla="*/ 602 w 699"/>
              <a:gd name="T105" fmla="*/ 528 h 691"/>
              <a:gd name="T106" fmla="*/ 643 w 699"/>
              <a:gd name="T107" fmla="*/ 522 h 691"/>
              <a:gd name="T108" fmla="*/ 667 w 699"/>
              <a:gd name="T109" fmla="*/ 478 h 691"/>
              <a:gd name="T110" fmla="*/ 648 w 699"/>
              <a:gd name="T111" fmla="*/ 441 h 691"/>
              <a:gd name="T112" fmla="*/ 696 w 699"/>
              <a:gd name="T113" fmla="*/ 410 h 6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699" h="691">
                <a:moveTo>
                  <a:pt x="692" y="374"/>
                </a:moveTo>
                <a:cubicBezTo>
                  <a:pt x="662" y="354"/>
                  <a:pt x="662" y="354"/>
                  <a:pt x="662" y="354"/>
                </a:cubicBezTo>
                <a:cubicBezTo>
                  <a:pt x="662" y="347"/>
                  <a:pt x="662" y="347"/>
                  <a:pt x="662" y="347"/>
                </a:cubicBezTo>
                <a:cubicBezTo>
                  <a:pt x="662" y="346"/>
                  <a:pt x="662" y="346"/>
                  <a:pt x="662" y="345"/>
                </a:cubicBezTo>
                <a:cubicBezTo>
                  <a:pt x="662" y="339"/>
                  <a:pt x="662" y="339"/>
                  <a:pt x="662" y="339"/>
                </a:cubicBezTo>
                <a:cubicBezTo>
                  <a:pt x="691" y="320"/>
                  <a:pt x="691" y="320"/>
                  <a:pt x="691" y="320"/>
                </a:cubicBezTo>
                <a:cubicBezTo>
                  <a:pt x="696" y="316"/>
                  <a:pt x="699" y="310"/>
                  <a:pt x="698" y="304"/>
                </a:cubicBezTo>
                <a:cubicBezTo>
                  <a:pt x="696" y="282"/>
                  <a:pt x="696" y="282"/>
                  <a:pt x="696" y="282"/>
                </a:cubicBezTo>
                <a:cubicBezTo>
                  <a:pt x="695" y="276"/>
                  <a:pt x="691" y="271"/>
                  <a:pt x="684" y="269"/>
                </a:cubicBezTo>
                <a:cubicBezTo>
                  <a:pt x="650" y="259"/>
                  <a:pt x="650" y="259"/>
                  <a:pt x="650" y="259"/>
                </a:cubicBezTo>
                <a:cubicBezTo>
                  <a:pt x="650" y="259"/>
                  <a:pt x="650" y="259"/>
                  <a:pt x="650" y="258"/>
                </a:cubicBezTo>
                <a:cubicBezTo>
                  <a:pt x="645" y="243"/>
                  <a:pt x="645" y="243"/>
                  <a:pt x="645" y="243"/>
                </a:cubicBezTo>
                <a:cubicBezTo>
                  <a:pt x="667" y="215"/>
                  <a:pt x="667" y="215"/>
                  <a:pt x="667" y="215"/>
                </a:cubicBezTo>
                <a:cubicBezTo>
                  <a:pt x="671" y="211"/>
                  <a:pt x="671" y="204"/>
                  <a:pt x="668" y="198"/>
                </a:cubicBezTo>
                <a:cubicBezTo>
                  <a:pt x="663" y="188"/>
                  <a:pt x="663" y="188"/>
                  <a:pt x="663" y="188"/>
                </a:cubicBezTo>
                <a:cubicBezTo>
                  <a:pt x="663" y="187"/>
                  <a:pt x="663" y="187"/>
                  <a:pt x="662" y="186"/>
                </a:cubicBezTo>
                <a:cubicBezTo>
                  <a:pt x="657" y="179"/>
                  <a:pt x="657" y="179"/>
                  <a:pt x="657" y="179"/>
                </a:cubicBezTo>
                <a:cubicBezTo>
                  <a:pt x="654" y="174"/>
                  <a:pt x="649" y="171"/>
                  <a:pt x="644" y="171"/>
                </a:cubicBezTo>
                <a:cubicBezTo>
                  <a:pt x="607" y="171"/>
                  <a:pt x="607" y="171"/>
                  <a:pt x="607" y="171"/>
                </a:cubicBezTo>
                <a:cubicBezTo>
                  <a:pt x="603" y="165"/>
                  <a:pt x="603" y="165"/>
                  <a:pt x="603" y="165"/>
                </a:cubicBezTo>
                <a:cubicBezTo>
                  <a:pt x="603" y="165"/>
                  <a:pt x="602" y="165"/>
                  <a:pt x="602" y="165"/>
                </a:cubicBezTo>
                <a:cubicBezTo>
                  <a:pt x="599" y="160"/>
                  <a:pt x="599" y="160"/>
                  <a:pt x="599" y="160"/>
                </a:cubicBezTo>
                <a:cubicBezTo>
                  <a:pt x="610" y="126"/>
                  <a:pt x="610" y="126"/>
                  <a:pt x="610" y="126"/>
                </a:cubicBezTo>
                <a:cubicBezTo>
                  <a:pt x="612" y="120"/>
                  <a:pt x="610" y="113"/>
                  <a:pt x="606" y="109"/>
                </a:cubicBezTo>
                <a:cubicBezTo>
                  <a:pt x="591" y="94"/>
                  <a:pt x="591" y="94"/>
                  <a:pt x="591" y="94"/>
                </a:cubicBezTo>
                <a:cubicBezTo>
                  <a:pt x="586" y="89"/>
                  <a:pt x="580" y="88"/>
                  <a:pt x="574" y="90"/>
                </a:cubicBezTo>
                <a:cubicBezTo>
                  <a:pt x="540" y="101"/>
                  <a:pt x="540" y="101"/>
                  <a:pt x="540" y="101"/>
                </a:cubicBezTo>
                <a:cubicBezTo>
                  <a:pt x="540" y="101"/>
                  <a:pt x="539" y="101"/>
                  <a:pt x="539" y="100"/>
                </a:cubicBezTo>
                <a:cubicBezTo>
                  <a:pt x="533" y="97"/>
                  <a:pt x="533" y="97"/>
                  <a:pt x="533" y="97"/>
                </a:cubicBezTo>
                <a:cubicBezTo>
                  <a:pt x="528" y="93"/>
                  <a:pt x="528" y="93"/>
                  <a:pt x="528" y="93"/>
                </a:cubicBezTo>
                <a:cubicBezTo>
                  <a:pt x="528" y="56"/>
                  <a:pt x="528" y="56"/>
                  <a:pt x="528" y="56"/>
                </a:cubicBezTo>
                <a:cubicBezTo>
                  <a:pt x="528" y="50"/>
                  <a:pt x="525" y="44"/>
                  <a:pt x="519" y="42"/>
                </a:cubicBezTo>
                <a:cubicBezTo>
                  <a:pt x="509" y="37"/>
                  <a:pt x="509" y="37"/>
                  <a:pt x="509" y="37"/>
                </a:cubicBezTo>
                <a:cubicBezTo>
                  <a:pt x="509" y="36"/>
                  <a:pt x="509" y="36"/>
                  <a:pt x="508" y="36"/>
                </a:cubicBezTo>
                <a:cubicBezTo>
                  <a:pt x="499" y="32"/>
                  <a:pt x="499" y="32"/>
                  <a:pt x="499" y="32"/>
                </a:cubicBezTo>
                <a:cubicBezTo>
                  <a:pt x="494" y="30"/>
                  <a:pt x="488" y="31"/>
                  <a:pt x="484" y="34"/>
                </a:cubicBezTo>
                <a:cubicBezTo>
                  <a:pt x="454" y="55"/>
                  <a:pt x="454" y="55"/>
                  <a:pt x="454" y="55"/>
                </a:cubicBezTo>
                <a:cubicBezTo>
                  <a:pt x="449" y="53"/>
                  <a:pt x="449" y="53"/>
                  <a:pt x="449" y="53"/>
                </a:cubicBezTo>
                <a:cubicBezTo>
                  <a:pt x="448" y="52"/>
                  <a:pt x="447" y="52"/>
                  <a:pt x="447" y="52"/>
                </a:cubicBezTo>
                <a:cubicBezTo>
                  <a:pt x="440" y="50"/>
                  <a:pt x="440" y="50"/>
                  <a:pt x="440" y="50"/>
                </a:cubicBezTo>
                <a:cubicBezTo>
                  <a:pt x="428" y="16"/>
                  <a:pt x="428" y="16"/>
                  <a:pt x="428" y="16"/>
                </a:cubicBezTo>
                <a:cubicBezTo>
                  <a:pt x="427" y="11"/>
                  <a:pt x="422" y="7"/>
                  <a:pt x="417" y="6"/>
                </a:cubicBezTo>
                <a:cubicBezTo>
                  <a:pt x="407" y="3"/>
                  <a:pt x="407" y="3"/>
                  <a:pt x="407" y="3"/>
                </a:cubicBezTo>
                <a:cubicBezTo>
                  <a:pt x="406" y="3"/>
                  <a:pt x="405" y="3"/>
                  <a:pt x="405" y="3"/>
                </a:cubicBezTo>
                <a:cubicBezTo>
                  <a:pt x="394" y="1"/>
                  <a:pt x="394" y="1"/>
                  <a:pt x="394" y="1"/>
                </a:cubicBezTo>
                <a:cubicBezTo>
                  <a:pt x="388" y="1"/>
                  <a:pt x="383" y="3"/>
                  <a:pt x="379" y="8"/>
                </a:cubicBezTo>
                <a:cubicBezTo>
                  <a:pt x="359" y="38"/>
                  <a:pt x="359" y="38"/>
                  <a:pt x="359" y="38"/>
                </a:cubicBezTo>
                <a:cubicBezTo>
                  <a:pt x="352" y="37"/>
                  <a:pt x="352" y="37"/>
                  <a:pt x="352" y="37"/>
                </a:cubicBezTo>
                <a:cubicBezTo>
                  <a:pt x="352" y="37"/>
                  <a:pt x="351" y="37"/>
                  <a:pt x="350" y="37"/>
                </a:cubicBezTo>
                <a:cubicBezTo>
                  <a:pt x="342" y="38"/>
                  <a:pt x="342" y="38"/>
                  <a:pt x="342" y="38"/>
                </a:cubicBezTo>
                <a:cubicBezTo>
                  <a:pt x="322" y="8"/>
                  <a:pt x="322" y="8"/>
                  <a:pt x="322" y="8"/>
                </a:cubicBezTo>
                <a:cubicBezTo>
                  <a:pt x="318" y="3"/>
                  <a:pt x="312" y="0"/>
                  <a:pt x="306" y="2"/>
                </a:cubicBezTo>
                <a:cubicBezTo>
                  <a:pt x="285" y="5"/>
                  <a:pt x="285" y="5"/>
                  <a:pt x="285" y="5"/>
                </a:cubicBezTo>
                <a:cubicBezTo>
                  <a:pt x="279" y="7"/>
                  <a:pt x="275" y="11"/>
                  <a:pt x="273" y="16"/>
                </a:cubicBezTo>
                <a:cubicBezTo>
                  <a:pt x="262" y="50"/>
                  <a:pt x="262" y="50"/>
                  <a:pt x="262" y="50"/>
                </a:cubicBezTo>
                <a:cubicBezTo>
                  <a:pt x="261" y="50"/>
                  <a:pt x="261" y="50"/>
                  <a:pt x="261" y="50"/>
                </a:cubicBezTo>
                <a:cubicBezTo>
                  <a:pt x="253" y="52"/>
                  <a:pt x="253" y="52"/>
                  <a:pt x="253" y="52"/>
                </a:cubicBezTo>
                <a:cubicBezTo>
                  <a:pt x="253" y="52"/>
                  <a:pt x="253" y="53"/>
                  <a:pt x="253" y="53"/>
                </a:cubicBezTo>
                <a:cubicBezTo>
                  <a:pt x="247" y="55"/>
                  <a:pt x="247" y="55"/>
                  <a:pt x="247" y="55"/>
                </a:cubicBezTo>
                <a:cubicBezTo>
                  <a:pt x="217" y="34"/>
                  <a:pt x="217" y="34"/>
                  <a:pt x="217" y="34"/>
                </a:cubicBezTo>
                <a:cubicBezTo>
                  <a:pt x="213" y="31"/>
                  <a:pt x="207" y="30"/>
                  <a:pt x="202" y="32"/>
                </a:cubicBezTo>
                <a:cubicBezTo>
                  <a:pt x="193" y="36"/>
                  <a:pt x="193" y="36"/>
                  <a:pt x="193" y="36"/>
                </a:cubicBezTo>
                <a:cubicBezTo>
                  <a:pt x="192" y="36"/>
                  <a:pt x="192" y="36"/>
                  <a:pt x="192" y="37"/>
                </a:cubicBezTo>
                <a:cubicBezTo>
                  <a:pt x="181" y="42"/>
                  <a:pt x="181" y="42"/>
                  <a:pt x="181" y="42"/>
                </a:cubicBezTo>
                <a:cubicBezTo>
                  <a:pt x="176" y="45"/>
                  <a:pt x="172" y="50"/>
                  <a:pt x="173" y="57"/>
                </a:cubicBezTo>
                <a:cubicBezTo>
                  <a:pt x="174" y="93"/>
                  <a:pt x="174" y="93"/>
                  <a:pt x="174" y="93"/>
                </a:cubicBezTo>
                <a:cubicBezTo>
                  <a:pt x="162" y="101"/>
                  <a:pt x="162" y="101"/>
                  <a:pt x="162" y="101"/>
                </a:cubicBezTo>
                <a:cubicBezTo>
                  <a:pt x="127" y="90"/>
                  <a:pt x="127" y="90"/>
                  <a:pt x="127" y="90"/>
                </a:cubicBezTo>
                <a:cubicBezTo>
                  <a:pt x="121" y="88"/>
                  <a:pt x="115" y="89"/>
                  <a:pt x="110" y="94"/>
                </a:cubicBezTo>
                <a:cubicBezTo>
                  <a:pt x="95" y="109"/>
                  <a:pt x="95" y="109"/>
                  <a:pt x="95" y="109"/>
                </a:cubicBezTo>
                <a:cubicBezTo>
                  <a:pt x="90" y="113"/>
                  <a:pt x="89" y="120"/>
                  <a:pt x="91" y="126"/>
                </a:cubicBezTo>
                <a:cubicBezTo>
                  <a:pt x="102" y="159"/>
                  <a:pt x="102" y="159"/>
                  <a:pt x="102" y="159"/>
                </a:cubicBezTo>
                <a:cubicBezTo>
                  <a:pt x="102" y="159"/>
                  <a:pt x="102" y="160"/>
                  <a:pt x="101" y="160"/>
                </a:cubicBezTo>
                <a:cubicBezTo>
                  <a:pt x="98" y="166"/>
                  <a:pt x="98" y="166"/>
                  <a:pt x="98" y="166"/>
                </a:cubicBezTo>
                <a:cubicBezTo>
                  <a:pt x="94" y="171"/>
                  <a:pt x="94" y="171"/>
                  <a:pt x="94" y="171"/>
                </a:cubicBezTo>
                <a:cubicBezTo>
                  <a:pt x="57" y="171"/>
                  <a:pt x="57" y="171"/>
                  <a:pt x="57" y="171"/>
                </a:cubicBezTo>
                <a:cubicBezTo>
                  <a:pt x="52" y="171"/>
                  <a:pt x="47" y="174"/>
                  <a:pt x="44" y="179"/>
                </a:cubicBezTo>
                <a:cubicBezTo>
                  <a:pt x="39" y="186"/>
                  <a:pt x="39" y="186"/>
                  <a:pt x="39" y="186"/>
                </a:cubicBezTo>
                <a:cubicBezTo>
                  <a:pt x="38" y="187"/>
                  <a:pt x="38" y="187"/>
                  <a:pt x="38" y="188"/>
                </a:cubicBezTo>
                <a:cubicBezTo>
                  <a:pt x="32" y="198"/>
                  <a:pt x="32" y="198"/>
                  <a:pt x="32" y="198"/>
                </a:cubicBezTo>
                <a:cubicBezTo>
                  <a:pt x="30" y="204"/>
                  <a:pt x="30" y="211"/>
                  <a:pt x="34" y="215"/>
                </a:cubicBezTo>
                <a:cubicBezTo>
                  <a:pt x="56" y="243"/>
                  <a:pt x="56" y="243"/>
                  <a:pt x="56" y="243"/>
                </a:cubicBezTo>
                <a:cubicBezTo>
                  <a:pt x="53" y="251"/>
                  <a:pt x="53" y="251"/>
                  <a:pt x="53" y="251"/>
                </a:cubicBezTo>
                <a:cubicBezTo>
                  <a:pt x="53" y="251"/>
                  <a:pt x="53" y="252"/>
                  <a:pt x="53" y="252"/>
                </a:cubicBezTo>
                <a:cubicBezTo>
                  <a:pt x="52" y="258"/>
                  <a:pt x="52" y="258"/>
                  <a:pt x="52" y="258"/>
                </a:cubicBezTo>
                <a:cubicBezTo>
                  <a:pt x="17" y="269"/>
                  <a:pt x="17" y="269"/>
                  <a:pt x="17" y="269"/>
                </a:cubicBezTo>
                <a:cubicBezTo>
                  <a:pt x="11" y="270"/>
                  <a:pt x="7" y="275"/>
                  <a:pt x="5" y="280"/>
                </a:cubicBezTo>
                <a:cubicBezTo>
                  <a:pt x="3" y="291"/>
                  <a:pt x="3" y="291"/>
                  <a:pt x="3" y="291"/>
                </a:cubicBezTo>
                <a:cubicBezTo>
                  <a:pt x="3" y="291"/>
                  <a:pt x="3" y="292"/>
                  <a:pt x="2" y="293"/>
                </a:cubicBezTo>
                <a:cubicBezTo>
                  <a:pt x="1" y="304"/>
                  <a:pt x="1" y="304"/>
                  <a:pt x="1" y="304"/>
                </a:cubicBezTo>
                <a:cubicBezTo>
                  <a:pt x="1" y="310"/>
                  <a:pt x="3" y="316"/>
                  <a:pt x="9" y="320"/>
                </a:cubicBezTo>
                <a:cubicBezTo>
                  <a:pt x="39" y="339"/>
                  <a:pt x="39" y="339"/>
                  <a:pt x="39" y="339"/>
                </a:cubicBezTo>
                <a:cubicBezTo>
                  <a:pt x="39" y="345"/>
                  <a:pt x="39" y="345"/>
                  <a:pt x="39" y="345"/>
                </a:cubicBezTo>
                <a:cubicBezTo>
                  <a:pt x="38" y="346"/>
                  <a:pt x="38" y="346"/>
                  <a:pt x="39" y="347"/>
                </a:cubicBezTo>
                <a:cubicBezTo>
                  <a:pt x="39" y="353"/>
                  <a:pt x="39" y="353"/>
                  <a:pt x="39" y="353"/>
                </a:cubicBezTo>
                <a:cubicBezTo>
                  <a:pt x="8" y="374"/>
                  <a:pt x="8" y="374"/>
                  <a:pt x="8" y="374"/>
                </a:cubicBezTo>
                <a:cubicBezTo>
                  <a:pt x="3" y="377"/>
                  <a:pt x="0" y="384"/>
                  <a:pt x="1" y="390"/>
                </a:cubicBezTo>
                <a:cubicBezTo>
                  <a:pt x="5" y="411"/>
                  <a:pt x="5" y="411"/>
                  <a:pt x="5" y="411"/>
                </a:cubicBezTo>
                <a:cubicBezTo>
                  <a:pt x="6" y="417"/>
                  <a:pt x="10" y="421"/>
                  <a:pt x="16" y="423"/>
                </a:cubicBezTo>
                <a:cubicBezTo>
                  <a:pt x="52" y="435"/>
                  <a:pt x="52" y="435"/>
                  <a:pt x="52" y="435"/>
                </a:cubicBezTo>
                <a:cubicBezTo>
                  <a:pt x="53" y="440"/>
                  <a:pt x="53" y="440"/>
                  <a:pt x="53" y="440"/>
                </a:cubicBezTo>
                <a:cubicBezTo>
                  <a:pt x="53" y="441"/>
                  <a:pt x="53" y="442"/>
                  <a:pt x="54" y="443"/>
                </a:cubicBezTo>
                <a:cubicBezTo>
                  <a:pt x="56" y="449"/>
                  <a:pt x="56" y="449"/>
                  <a:pt x="56" y="449"/>
                </a:cubicBezTo>
                <a:cubicBezTo>
                  <a:pt x="34" y="478"/>
                  <a:pt x="34" y="478"/>
                  <a:pt x="34" y="478"/>
                </a:cubicBezTo>
                <a:cubicBezTo>
                  <a:pt x="30" y="483"/>
                  <a:pt x="30" y="490"/>
                  <a:pt x="33" y="496"/>
                </a:cubicBezTo>
                <a:cubicBezTo>
                  <a:pt x="43" y="514"/>
                  <a:pt x="43" y="514"/>
                  <a:pt x="43" y="514"/>
                </a:cubicBezTo>
                <a:cubicBezTo>
                  <a:pt x="46" y="519"/>
                  <a:pt x="52" y="522"/>
                  <a:pt x="58" y="522"/>
                </a:cubicBezTo>
                <a:cubicBezTo>
                  <a:pt x="94" y="521"/>
                  <a:pt x="94" y="521"/>
                  <a:pt x="94" y="521"/>
                </a:cubicBezTo>
                <a:cubicBezTo>
                  <a:pt x="98" y="527"/>
                  <a:pt x="98" y="527"/>
                  <a:pt x="98" y="527"/>
                </a:cubicBezTo>
                <a:cubicBezTo>
                  <a:pt x="98" y="528"/>
                  <a:pt x="98" y="528"/>
                  <a:pt x="99" y="529"/>
                </a:cubicBezTo>
                <a:cubicBezTo>
                  <a:pt x="102" y="533"/>
                  <a:pt x="102" y="533"/>
                  <a:pt x="102" y="533"/>
                </a:cubicBezTo>
                <a:cubicBezTo>
                  <a:pt x="91" y="568"/>
                  <a:pt x="91" y="568"/>
                  <a:pt x="91" y="568"/>
                </a:cubicBezTo>
                <a:cubicBezTo>
                  <a:pt x="89" y="573"/>
                  <a:pt x="90" y="580"/>
                  <a:pt x="95" y="584"/>
                </a:cubicBezTo>
                <a:cubicBezTo>
                  <a:pt x="110" y="600"/>
                  <a:pt x="110" y="600"/>
                  <a:pt x="110" y="600"/>
                </a:cubicBezTo>
                <a:cubicBezTo>
                  <a:pt x="115" y="604"/>
                  <a:pt x="121" y="605"/>
                  <a:pt x="127" y="603"/>
                </a:cubicBezTo>
                <a:cubicBezTo>
                  <a:pt x="162" y="592"/>
                  <a:pt x="162" y="592"/>
                  <a:pt x="162" y="592"/>
                </a:cubicBezTo>
                <a:cubicBezTo>
                  <a:pt x="167" y="596"/>
                  <a:pt x="167" y="596"/>
                  <a:pt x="167" y="596"/>
                </a:cubicBezTo>
                <a:cubicBezTo>
                  <a:pt x="167" y="596"/>
                  <a:pt x="168" y="596"/>
                  <a:pt x="168" y="596"/>
                </a:cubicBezTo>
                <a:cubicBezTo>
                  <a:pt x="174" y="600"/>
                  <a:pt x="174" y="600"/>
                  <a:pt x="174" y="600"/>
                </a:cubicBezTo>
                <a:cubicBezTo>
                  <a:pt x="173" y="635"/>
                  <a:pt x="173" y="635"/>
                  <a:pt x="173" y="635"/>
                </a:cubicBezTo>
                <a:cubicBezTo>
                  <a:pt x="172" y="641"/>
                  <a:pt x="175" y="647"/>
                  <a:pt x="180" y="650"/>
                </a:cubicBezTo>
                <a:cubicBezTo>
                  <a:pt x="190" y="656"/>
                  <a:pt x="190" y="656"/>
                  <a:pt x="190" y="656"/>
                </a:cubicBezTo>
                <a:cubicBezTo>
                  <a:pt x="191" y="656"/>
                  <a:pt x="192" y="657"/>
                  <a:pt x="193" y="657"/>
                </a:cubicBezTo>
                <a:cubicBezTo>
                  <a:pt x="202" y="661"/>
                  <a:pt x="202" y="661"/>
                  <a:pt x="202" y="661"/>
                </a:cubicBezTo>
                <a:cubicBezTo>
                  <a:pt x="207" y="663"/>
                  <a:pt x="213" y="663"/>
                  <a:pt x="218" y="659"/>
                </a:cubicBezTo>
                <a:cubicBezTo>
                  <a:pt x="245" y="638"/>
                  <a:pt x="245" y="638"/>
                  <a:pt x="245" y="638"/>
                </a:cubicBezTo>
                <a:cubicBezTo>
                  <a:pt x="246" y="639"/>
                  <a:pt x="247" y="639"/>
                  <a:pt x="248" y="639"/>
                </a:cubicBezTo>
                <a:cubicBezTo>
                  <a:pt x="254" y="640"/>
                  <a:pt x="254" y="640"/>
                  <a:pt x="254" y="640"/>
                </a:cubicBezTo>
                <a:cubicBezTo>
                  <a:pt x="261" y="642"/>
                  <a:pt x="261" y="642"/>
                  <a:pt x="261" y="642"/>
                </a:cubicBezTo>
                <a:cubicBezTo>
                  <a:pt x="273" y="677"/>
                  <a:pt x="273" y="677"/>
                  <a:pt x="273" y="677"/>
                </a:cubicBezTo>
                <a:cubicBezTo>
                  <a:pt x="275" y="683"/>
                  <a:pt x="280" y="687"/>
                  <a:pt x="286" y="688"/>
                </a:cubicBezTo>
                <a:cubicBezTo>
                  <a:pt x="307" y="691"/>
                  <a:pt x="307" y="691"/>
                  <a:pt x="307" y="691"/>
                </a:cubicBezTo>
                <a:cubicBezTo>
                  <a:pt x="312" y="691"/>
                  <a:pt x="318" y="689"/>
                  <a:pt x="322" y="684"/>
                </a:cubicBezTo>
                <a:cubicBezTo>
                  <a:pt x="343" y="655"/>
                  <a:pt x="343" y="655"/>
                  <a:pt x="343" y="655"/>
                </a:cubicBezTo>
                <a:cubicBezTo>
                  <a:pt x="358" y="655"/>
                  <a:pt x="358" y="655"/>
                  <a:pt x="358" y="655"/>
                </a:cubicBezTo>
                <a:cubicBezTo>
                  <a:pt x="379" y="684"/>
                  <a:pt x="379" y="684"/>
                  <a:pt x="379" y="684"/>
                </a:cubicBezTo>
                <a:cubicBezTo>
                  <a:pt x="382" y="688"/>
                  <a:pt x="387" y="691"/>
                  <a:pt x="392" y="691"/>
                </a:cubicBezTo>
                <a:cubicBezTo>
                  <a:pt x="393" y="691"/>
                  <a:pt x="394" y="691"/>
                  <a:pt x="394" y="691"/>
                </a:cubicBezTo>
                <a:cubicBezTo>
                  <a:pt x="415" y="688"/>
                  <a:pt x="415" y="688"/>
                  <a:pt x="415" y="688"/>
                </a:cubicBezTo>
                <a:cubicBezTo>
                  <a:pt x="421" y="687"/>
                  <a:pt x="426" y="683"/>
                  <a:pt x="428" y="677"/>
                </a:cubicBezTo>
                <a:cubicBezTo>
                  <a:pt x="440" y="642"/>
                  <a:pt x="440" y="642"/>
                  <a:pt x="440" y="642"/>
                </a:cubicBezTo>
                <a:cubicBezTo>
                  <a:pt x="448" y="640"/>
                  <a:pt x="448" y="640"/>
                  <a:pt x="448" y="640"/>
                </a:cubicBezTo>
                <a:cubicBezTo>
                  <a:pt x="448" y="640"/>
                  <a:pt x="448" y="639"/>
                  <a:pt x="448" y="639"/>
                </a:cubicBezTo>
                <a:cubicBezTo>
                  <a:pt x="454" y="637"/>
                  <a:pt x="454" y="637"/>
                  <a:pt x="454" y="637"/>
                </a:cubicBezTo>
                <a:cubicBezTo>
                  <a:pt x="483" y="659"/>
                  <a:pt x="483" y="659"/>
                  <a:pt x="483" y="659"/>
                </a:cubicBezTo>
                <a:cubicBezTo>
                  <a:pt x="488" y="663"/>
                  <a:pt x="494" y="663"/>
                  <a:pt x="499" y="661"/>
                </a:cubicBezTo>
                <a:cubicBezTo>
                  <a:pt x="508" y="657"/>
                  <a:pt x="508" y="657"/>
                  <a:pt x="508" y="657"/>
                </a:cubicBezTo>
                <a:cubicBezTo>
                  <a:pt x="509" y="657"/>
                  <a:pt x="510" y="656"/>
                  <a:pt x="510" y="656"/>
                </a:cubicBezTo>
                <a:cubicBezTo>
                  <a:pt x="521" y="650"/>
                  <a:pt x="521" y="650"/>
                  <a:pt x="521" y="650"/>
                </a:cubicBezTo>
                <a:cubicBezTo>
                  <a:pt x="525" y="647"/>
                  <a:pt x="528" y="641"/>
                  <a:pt x="528" y="636"/>
                </a:cubicBezTo>
                <a:cubicBezTo>
                  <a:pt x="528" y="600"/>
                  <a:pt x="528" y="600"/>
                  <a:pt x="528" y="600"/>
                </a:cubicBezTo>
                <a:cubicBezTo>
                  <a:pt x="533" y="596"/>
                  <a:pt x="533" y="596"/>
                  <a:pt x="533" y="596"/>
                </a:cubicBezTo>
                <a:cubicBezTo>
                  <a:pt x="539" y="592"/>
                  <a:pt x="539" y="592"/>
                  <a:pt x="539" y="592"/>
                </a:cubicBezTo>
                <a:cubicBezTo>
                  <a:pt x="574" y="603"/>
                  <a:pt x="574" y="603"/>
                  <a:pt x="574" y="603"/>
                </a:cubicBezTo>
                <a:cubicBezTo>
                  <a:pt x="580" y="605"/>
                  <a:pt x="586" y="604"/>
                  <a:pt x="591" y="600"/>
                </a:cubicBezTo>
                <a:cubicBezTo>
                  <a:pt x="606" y="584"/>
                  <a:pt x="606" y="584"/>
                  <a:pt x="606" y="584"/>
                </a:cubicBezTo>
                <a:cubicBezTo>
                  <a:pt x="610" y="580"/>
                  <a:pt x="612" y="573"/>
                  <a:pt x="610" y="568"/>
                </a:cubicBezTo>
                <a:cubicBezTo>
                  <a:pt x="599" y="533"/>
                  <a:pt x="599" y="533"/>
                  <a:pt x="599" y="533"/>
                </a:cubicBezTo>
                <a:cubicBezTo>
                  <a:pt x="602" y="528"/>
                  <a:pt x="602" y="528"/>
                  <a:pt x="602" y="528"/>
                </a:cubicBezTo>
                <a:cubicBezTo>
                  <a:pt x="603" y="528"/>
                  <a:pt x="603" y="528"/>
                  <a:pt x="603" y="527"/>
                </a:cubicBezTo>
                <a:cubicBezTo>
                  <a:pt x="607" y="521"/>
                  <a:pt x="607" y="521"/>
                  <a:pt x="607" y="521"/>
                </a:cubicBezTo>
                <a:cubicBezTo>
                  <a:pt x="643" y="522"/>
                  <a:pt x="643" y="522"/>
                  <a:pt x="643" y="522"/>
                </a:cubicBezTo>
                <a:cubicBezTo>
                  <a:pt x="649" y="522"/>
                  <a:pt x="655" y="519"/>
                  <a:pt x="658" y="514"/>
                </a:cubicBezTo>
                <a:cubicBezTo>
                  <a:pt x="668" y="496"/>
                  <a:pt x="668" y="496"/>
                  <a:pt x="668" y="496"/>
                </a:cubicBezTo>
                <a:cubicBezTo>
                  <a:pt x="671" y="490"/>
                  <a:pt x="671" y="483"/>
                  <a:pt x="667" y="478"/>
                </a:cubicBezTo>
                <a:cubicBezTo>
                  <a:pt x="645" y="449"/>
                  <a:pt x="645" y="449"/>
                  <a:pt x="645" y="449"/>
                </a:cubicBezTo>
                <a:cubicBezTo>
                  <a:pt x="647" y="443"/>
                  <a:pt x="647" y="443"/>
                  <a:pt x="647" y="443"/>
                </a:cubicBezTo>
                <a:cubicBezTo>
                  <a:pt x="647" y="443"/>
                  <a:pt x="648" y="442"/>
                  <a:pt x="648" y="441"/>
                </a:cubicBezTo>
                <a:cubicBezTo>
                  <a:pt x="649" y="435"/>
                  <a:pt x="649" y="435"/>
                  <a:pt x="649" y="435"/>
                </a:cubicBezTo>
                <a:cubicBezTo>
                  <a:pt x="685" y="423"/>
                  <a:pt x="685" y="423"/>
                  <a:pt x="685" y="423"/>
                </a:cubicBezTo>
                <a:cubicBezTo>
                  <a:pt x="691" y="421"/>
                  <a:pt x="695" y="416"/>
                  <a:pt x="696" y="410"/>
                </a:cubicBezTo>
                <a:cubicBezTo>
                  <a:pt x="698" y="389"/>
                  <a:pt x="698" y="389"/>
                  <a:pt x="698" y="389"/>
                </a:cubicBezTo>
                <a:cubicBezTo>
                  <a:pt x="699" y="383"/>
                  <a:pt x="697" y="377"/>
                  <a:pt x="692" y="37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CH" sz="1600" dirty="0"/>
          </a:p>
        </p:txBody>
      </p:sp>
      <p:sp>
        <p:nvSpPr>
          <p:cNvPr id="51" name="Oval 54"/>
          <p:cNvSpPr>
            <a:spLocks noChangeAspect="1" noChangeArrowheads="1"/>
          </p:cNvSpPr>
          <p:nvPr>
            <p:custDataLst>
              <p:tags r:id="rId9"/>
            </p:custDataLst>
          </p:nvPr>
        </p:nvSpPr>
        <p:spPr bwMode="gray">
          <a:xfrm>
            <a:off x="6618200" y="1681828"/>
            <a:ext cx="1080000" cy="1081402"/>
          </a:xfrm>
          <a:prstGeom prst="ellipse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/>
          <a:lstStyle/>
          <a:p>
            <a:pPr algn="ctr"/>
            <a:r>
              <a:rPr lang="fr-CH" sz="1600" b="1" dirty="0">
                <a:solidFill>
                  <a:schemeClr val="accent1"/>
                </a:solidFill>
              </a:rPr>
              <a:t>titre</a:t>
            </a:r>
          </a:p>
          <a:p>
            <a:pPr algn="ctr"/>
            <a:endParaRPr lang="fr-CH" sz="1600" b="1" dirty="0">
              <a:solidFill>
                <a:schemeClr val="accent1"/>
              </a:solidFill>
            </a:endParaRPr>
          </a:p>
        </p:txBody>
      </p:sp>
      <p:sp>
        <p:nvSpPr>
          <p:cNvPr id="77" name="Freeform 5"/>
          <p:cNvSpPr>
            <a:spLocks/>
          </p:cNvSpPr>
          <p:nvPr>
            <p:custDataLst>
              <p:tags r:id="rId10"/>
            </p:custDataLst>
          </p:nvPr>
        </p:nvSpPr>
        <p:spPr bwMode="gray">
          <a:xfrm>
            <a:off x="3467872" y="3049060"/>
            <a:ext cx="1476000" cy="1476000"/>
          </a:xfrm>
          <a:custGeom>
            <a:avLst/>
            <a:gdLst>
              <a:gd name="T0" fmla="*/ 662 w 699"/>
              <a:gd name="T1" fmla="*/ 347 h 691"/>
              <a:gd name="T2" fmla="*/ 691 w 699"/>
              <a:gd name="T3" fmla="*/ 320 h 691"/>
              <a:gd name="T4" fmla="*/ 684 w 699"/>
              <a:gd name="T5" fmla="*/ 269 h 691"/>
              <a:gd name="T6" fmla="*/ 645 w 699"/>
              <a:gd name="T7" fmla="*/ 243 h 691"/>
              <a:gd name="T8" fmla="*/ 663 w 699"/>
              <a:gd name="T9" fmla="*/ 188 h 691"/>
              <a:gd name="T10" fmla="*/ 644 w 699"/>
              <a:gd name="T11" fmla="*/ 171 h 691"/>
              <a:gd name="T12" fmla="*/ 602 w 699"/>
              <a:gd name="T13" fmla="*/ 165 h 691"/>
              <a:gd name="T14" fmla="*/ 606 w 699"/>
              <a:gd name="T15" fmla="*/ 109 h 691"/>
              <a:gd name="T16" fmla="*/ 540 w 699"/>
              <a:gd name="T17" fmla="*/ 101 h 691"/>
              <a:gd name="T18" fmla="*/ 528 w 699"/>
              <a:gd name="T19" fmla="*/ 93 h 691"/>
              <a:gd name="T20" fmla="*/ 509 w 699"/>
              <a:gd name="T21" fmla="*/ 37 h 691"/>
              <a:gd name="T22" fmla="*/ 484 w 699"/>
              <a:gd name="T23" fmla="*/ 34 h 691"/>
              <a:gd name="T24" fmla="*/ 447 w 699"/>
              <a:gd name="T25" fmla="*/ 52 h 691"/>
              <a:gd name="T26" fmla="*/ 417 w 699"/>
              <a:gd name="T27" fmla="*/ 6 h 691"/>
              <a:gd name="T28" fmla="*/ 394 w 699"/>
              <a:gd name="T29" fmla="*/ 1 h 691"/>
              <a:gd name="T30" fmla="*/ 352 w 699"/>
              <a:gd name="T31" fmla="*/ 37 h 691"/>
              <a:gd name="T32" fmla="*/ 322 w 699"/>
              <a:gd name="T33" fmla="*/ 8 h 691"/>
              <a:gd name="T34" fmla="*/ 273 w 699"/>
              <a:gd name="T35" fmla="*/ 16 h 691"/>
              <a:gd name="T36" fmla="*/ 253 w 699"/>
              <a:gd name="T37" fmla="*/ 52 h 691"/>
              <a:gd name="T38" fmla="*/ 217 w 699"/>
              <a:gd name="T39" fmla="*/ 34 h 691"/>
              <a:gd name="T40" fmla="*/ 192 w 699"/>
              <a:gd name="T41" fmla="*/ 37 h 691"/>
              <a:gd name="T42" fmla="*/ 174 w 699"/>
              <a:gd name="T43" fmla="*/ 93 h 691"/>
              <a:gd name="T44" fmla="*/ 110 w 699"/>
              <a:gd name="T45" fmla="*/ 94 h 691"/>
              <a:gd name="T46" fmla="*/ 102 w 699"/>
              <a:gd name="T47" fmla="*/ 159 h 691"/>
              <a:gd name="T48" fmla="*/ 94 w 699"/>
              <a:gd name="T49" fmla="*/ 171 h 691"/>
              <a:gd name="T50" fmla="*/ 39 w 699"/>
              <a:gd name="T51" fmla="*/ 186 h 691"/>
              <a:gd name="T52" fmla="*/ 34 w 699"/>
              <a:gd name="T53" fmla="*/ 215 h 691"/>
              <a:gd name="T54" fmla="*/ 53 w 699"/>
              <a:gd name="T55" fmla="*/ 252 h 691"/>
              <a:gd name="T56" fmla="*/ 5 w 699"/>
              <a:gd name="T57" fmla="*/ 280 h 691"/>
              <a:gd name="T58" fmla="*/ 1 w 699"/>
              <a:gd name="T59" fmla="*/ 304 h 691"/>
              <a:gd name="T60" fmla="*/ 39 w 699"/>
              <a:gd name="T61" fmla="*/ 345 h 691"/>
              <a:gd name="T62" fmla="*/ 8 w 699"/>
              <a:gd name="T63" fmla="*/ 374 h 691"/>
              <a:gd name="T64" fmla="*/ 16 w 699"/>
              <a:gd name="T65" fmla="*/ 423 h 691"/>
              <a:gd name="T66" fmla="*/ 54 w 699"/>
              <a:gd name="T67" fmla="*/ 443 h 691"/>
              <a:gd name="T68" fmla="*/ 33 w 699"/>
              <a:gd name="T69" fmla="*/ 496 h 691"/>
              <a:gd name="T70" fmla="*/ 94 w 699"/>
              <a:gd name="T71" fmla="*/ 521 h 691"/>
              <a:gd name="T72" fmla="*/ 102 w 699"/>
              <a:gd name="T73" fmla="*/ 533 h 691"/>
              <a:gd name="T74" fmla="*/ 110 w 699"/>
              <a:gd name="T75" fmla="*/ 600 h 691"/>
              <a:gd name="T76" fmla="*/ 167 w 699"/>
              <a:gd name="T77" fmla="*/ 596 h 691"/>
              <a:gd name="T78" fmla="*/ 173 w 699"/>
              <a:gd name="T79" fmla="*/ 635 h 691"/>
              <a:gd name="T80" fmla="*/ 193 w 699"/>
              <a:gd name="T81" fmla="*/ 657 h 691"/>
              <a:gd name="T82" fmla="*/ 245 w 699"/>
              <a:gd name="T83" fmla="*/ 638 h 691"/>
              <a:gd name="T84" fmla="*/ 261 w 699"/>
              <a:gd name="T85" fmla="*/ 642 h 691"/>
              <a:gd name="T86" fmla="*/ 307 w 699"/>
              <a:gd name="T87" fmla="*/ 691 h 691"/>
              <a:gd name="T88" fmla="*/ 358 w 699"/>
              <a:gd name="T89" fmla="*/ 655 h 691"/>
              <a:gd name="T90" fmla="*/ 394 w 699"/>
              <a:gd name="T91" fmla="*/ 691 h 691"/>
              <a:gd name="T92" fmla="*/ 440 w 699"/>
              <a:gd name="T93" fmla="*/ 642 h 691"/>
              <a:gd name="T94" fmla="*/ 454 w 699"/>
              <a:gd name="T95" fmla="*/ 637 h 691"/>
              <a:gd name="T96" fmla="*/ 508 w 699"/>
              <a:gd name="T97" fmla="*/ 657 h 691"/>
              <a:gd name="T98" fmla="*/ 528 w 699"/>
              <a:gd name="T99" fmla="*/ 636 h 691"/>
              <a:gd name="T100" fmla="*/ 539 w 699"/>
              <a:gd name="T101" fmla="*/ 592 h 691"/>
              <a:gd name="T102" fmla="*/ 606 w 699"/>
              <a:gd name="T103" fmla="*/ 584 h 691"/>
              <a:gd name="T104" fmla="*/ 602 w 699"/>
              <a:gd name="T105" fmla="*/ 528 h 691"/>
              <a:gd name="T106" fmla="*/ 643 w 699"/>
              <a:gd name="T107" fmla="*/ 522 h 691"/>
              <a:gd name="T108" fmla="*/ 667 w 699"/>
              <a:gd name="T109" fmla="*/ 478 h 691"/>
              <a:gd name="T110" fmla="*/ 648 w 699"/>
              <a:gd name="T111" fmla="*/ 441 h 691"/>
              <a:gd name="T112" fmla="*/ 696 w 699"/>
              <a:gd name="T113" fmla="*/ 410 h 6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699" h="691">
                <a:moveTo>
                  <a:pt x="692" y="374"/>
                </a:moveTo>
                <a:cubicBezTo>
                  <a:pt x="662" y="354"/>
                  <a:pt x="662" y="354"/>
                  <a:pt x="662" y="354"/>
                </a:cubicBezTo>
                <a:cubicBezTo>
                  <a:pt x="662" y="347"/>
                  <a:pt x="662" y="347"/>
                  <a:pt x="662" y="347"/>
                </a:cubicBezTo>
                <a:cubicBezTo>
                  <a:pt x="662" y="346"/>
                  <a:pt x="662" y="346"/>
                  <a:pt x="662" y="345"/>
                </a:cubicBezTo>
                <a:cubicBezTo>
                  <a:pt x="662" y="339"/>
                  <a:pt x="662" y="339"/>
                  <a:pt x="662" y="339"/>
                </a:cubicBezTo>
                <a:cubicBezTo>
                  <a:pt x="691" y="320"/>
                  <a:pt x="691" y="320"/>
                  <a:pt x="691" y="320"/>
                </a:cubicBezTo>
                <a:cubicBezTo>
                  <a:pt x="696" y="316"/>
                  <a:pt x="699" y="310"/>
                  <a:pt x="698" y="304"/>
                </a:cubicBezTo>
                <a:cubicBezTo>
                  <a:pt x="696" y="282"/>
                  <a:pt x="696" y="282"/>
                  <a:pt x="696" y="282"/>
                </a:cubicBezTo>
                <a:cubicBezTo>
                  <a:pt x="695" y="276"/>
                  <a:pt x="691" y="271"/>
                  <a:pt x="684" y="269"/>
                </a:cubicBezTo>
                <a:cubicBezTo>
                  <a:pt x="650" y="259"/>
                  <a:pt x="650" y="259"/>
                  <a:pt x="650" y="259"/>
                </a:cubicBezTo>
                <a:cubicBezTo>
                  <a:pt x="650" y="259"/>
                  <a:pt x="650" y="259"/>
                  <a:pt x="650" y="258"/>
                </a:cubicBezTo>
                <a:cubicBezTo>
                  <a:pt x="645" y="243"/>
                  <a:pt x="645" y="243"/>
                  <a:pt x="645" y="243"/>
                </a:cubicBezTo>
                <a:cubicBezTo>
                  <a:pt x="667" y="215"/>
                  <a:pt x="667" y="215"/>
                  <a:pt x="667" y="215"/>
                </a:cubicBezTo>
                <a:cubicBezTo>
                  <a:pt x="671" y="211"/>
                  <a:pt x="671" y="204"/>
                  <a:pt x="668" y="198"/>
                </a:cubicBezTo>
                <a:cubicBezTo>
                  <a:pt x="663" y="188"/>
                  <a:pt x="663" y="188"/>
                  <a:pt x="663" y="188"/>
                </a:cubicBezTo>
                <a:cubicBezTo>
                  <a:pt x="663" y="187"/>
                  <a:pt x="663" y="187"/>
                  <a:pt x="662" y="186"/>
                </a:cubicBezTo>
                <a:cubicBezTo>
                  <a:pt x="657" y="179"/>
                  <a:pt x="657" y="179"/>
                  <a:pt x="657" y="179"/>
                </a:cubicBezTo>
                <a:cubicBezTo>
                  <a:pt x="654" y="174"/>
                  <a:pt x="649" y="171"/>
                  <a:pt x="644" y="171"/>
                </a:cubicBezTo>
                <a:cubicBezTo>
                  <a:pt x="607" y="171"/>
                  <a:pt x="607" y="171"/>
                  <a:pt x="607" y="171"/>
                </a:cubicBezTo>
                <a:cubicBezTo>
                  <a:pt x="603" y="165"/>
                  <a:pt x="603" y="165"/>
                  <a:pt x="603" y="165"/>
                </a:cubicBezTo>
                <a:cubicBezTo>
                  <a:pt x="603" y="165"/>
                  <a:pt x="602" y="165"/>
                  <a:pt x="602" y="165"/>
                </a:cubicBezTo>
                <a:cubicBezTo>
                  <a:pt x="599" y="160"/>
                  <a:pt x="599" y="160"/>
                  <a:pt x="599" y="160"/>
                </a:cubicBezTo>
                <a:cubicBezTo>
                  <a:pt x="610" y="126"/>
                  <a:pt x="610" y="126"/>
                  <a:pt x="610" y="126"/>
                </a:cubicBezTo>
                <a:cubicBezTo>
                  <a:pt x="612" y="120"/>
                  <a:pt x="610" y="113"/>
                  <a:pt x="606" y="109"/>
                </a:cubicBezTo>
                <a:cubicBezTo>
                  <a:pt x="591" y="94"/>
                  <a:pt x="591" y="94"/>
                  <a:pt x="591" y="94"/>
                </a:cubicBezTo>
                <a:cubicBezTo>
                  <a:pt x="586" y="89"/>
                  <a:pt x="580" y="88"/>
                  <a:pt x="574" y="90"/>
                </a:cubicBezTo>
                <a:cubicBezTo>
                  <a:pt x="540" y="101"/>
                  <a:pt x="540" y="101"/>
                  <a:pt x="540" y="101"/>
                </a:cubicBezTo>
                <a:cubicBezTo>
                  <a:pt x="540" y="101"/>
                  <a:pt x="539" y="101"/>
                  <a:pt x="539" y="100"/>
                </a:cubicBezTo>
                <a:cubicBezTo>
                  <a:pt x="533" y="97"/>
                  <a:pt x="533" y="97"/>
                  <a:pt x="533" y="97"/>
                </a:cubicBezTo>
                <a:cubicBezTo>
                  <a:pt x="528" y="93"/>
                  <a:pt x="528" y="93"/>
                  <a:pt x="528" y="93"/>
                </a:cubicBezTo>
                <a:cubicBezTo>
                  <a:pt x="528" y="56"/>
                  <a:pt x="528" y="56"/>
                  <a:pt x="528" y="56"/>
                </a:cubicBezTo>
                <a:cubicBezTo>
                  <a:pt x="528" y="50"/>
                  <a:pt x="525" y="44"/>
                  <a:pt x="519" y="42"/>
                </a:cubicBezTo>
                <a:cubicBezTo>
                  <a:pt x="509" y="37"/>
                  <a:pt x="509" y="37"/>
                  <a:pt x="509" y="37"/>
                </a:cubicBezTo>
                <a:cubicBezTo>
                  <a:pt x="509" y="36"/>
                  <a:pt x="509" y="36"/>
                  <a:pt x="508" y="36"/>
                </a:cubicBezTo>
                <a:cubicBezTo>
                  <a:pt x="499" y="32"/>
                  <a:pt x="499" y="32"/>
                  <a:pt x="499" y="32"/>
                </a:cubicBezTo>
                <a:cubicBezTo>
                  <a:pt x="494" y="30"/>
                  <a:pt x="488" y="31"/>
                  <a:pt x="484" y="34"/>
                </a:cubicBezTo>
                <a:cubicBezTo>
                  <a:pt x="454" y="55"/>
                  <a:pt x="454" y="55"/>
                  <a:pt x="454" y="55"/>
                </a:cubicBezTo>
                <a:cubicBezTo>
                  <a:pt x="449" y="53"/>
                  <a:pt x="449" y="53"/>
                  <a:pt x="449" y="53"/>
                </a:cubicBezTo>
                <a:cubicBezTo>
                  <a:pt x="448" y="52"/>
                  <a:pt x="447" y="52"/>
                  <a:pt x="447" y="52"/>
                </a:cubicBezTo>
                <a:cubicBezTo>
                  <a:pt x="440" y="50"/>
                  <a:pt x="440" y="50"/>
                  <a:pt x="440" y="50"/>
                </a:cubicBezTo>
                <a:cubicBezTo>
                  <a:pt x="428" y="16"/>
                  <a:pt x="428" y="16"/>
                  <a:pt x="428" y="16"/>
                </a:cubicBezTo>
                <a:cubicBezTo>
                  <a:pt x="427" y="11"/>
                  <a:pt x="422" y="7"/>
                  <a:pt x="417" y="6"/>
                </a:cubicBezTo>
                <a:cubicBezTo>
                  <a:pt x="407" y="3"/>
                  <a:pt x="407" y="3"/>
                  <a:pt x="407" y="3"/>
                </a:cubicBezTo>
                <a:cubicBezTo>
                  <a:pt x="406" y="3"/>
                  <a:pt x="405" y="3"/>
                  <a:pt x="405" y="3"/>
                </a:cubicBezTo>
                <a:cubicBezTo>
                  <a:pt x="394" y="1"/>
                  <a:pt x="394" y="1"/>
                  <a:pt x="394" y="1"/>
                </a:cubicBezTo>
                <a:cubicBezTo>
                  <a:pt x="388" y="1"/>
                  <a:pt x="383" y="3"/>
                  <a:pt x="379" y="8"/>
                </a:cubicBezTo>
                <a:cubicBezTo>
                  <a:pt x="359" y="38"/>
                  <a:pt x="359" y="38"/>
                  <a:pt x="359" y="38"/>
                </a:cubicBezTo>
                <a:cubicBezTo>
                  <a:pt x="352" y="37"/>
                  <a:pt x="352" y="37"/>
                  <a:pt x="352" y="37"/>
                </a:cubicBezTo>
                <a:cubicBezTo>
                  <a:pt x="352" y="37"/>
                  <a:pt x="351" y="37"/>
                  <a:pt x="350" y="37"/>
                </a:cubicBezTo>
                <a:cubicBezTo>
                  <a:pt x="342" y="38"/>
                  <a:pt x="342" y="38"/>
                  <a:pt x="342" y="38"/>
                </a:cubicBezTo>
                <a:cubicBezTo>
                  <a:pt x="322" y="8"/>
                  <a:pt x="322" y="8"/>
                  <a:pt x="322" y="8"/>
                </a:cubicBezTo>
                <a:cubicBezTo>
                  <a:pt x="318" y="3"/>
                  <a:pt x="312" y="0"/>
                  <a:pt x="306" y="2"/>
                </a:cubicBezTo>
                <a:cubicBezTo>
                  <a:pt x="285" y="5"/>
                  <a:pt x="285" y="5"/>
                  <a:pt x="285" y="5"/>
                </a:cubicBezTo>
                <a:cubicBezTo>
                  <a:pt x="279" y="7"/>
                  <a:pt x="275" y="11"/>
                  <a:pt x="273" y="16"/>
                </a:cubicBezTo>
                <a:cubicBezTo>
                  <a:pt x="262" y="50"/>
                  <a:pt x="262" y="50"/>
                  <a:pt x="262" y="50"/>
                </a:cubicBezTo>
                <a:cubicBezTo>
                  <a:pt x="261" y="50"/>
                  <a:pt x="261" y="50"/>
                  <a:pt x="261" y="50"/>
                </a:cubicBezTo>
                <a:cubicBezTo>
                  <a:pt x="253" y="52"/>
                  <a:pt x="253" y="52"/>
                  <a:pt x="253" y="52"/>
                </a:cubicBezTo>
                <a:cubicBezTo>
                  <a:pt x="253" y="52"/>
                  <a:pt x="253" y="53"/>
                  <a:pt x="253" y="53"/>
                </a:cubicBezTo>
                <a:cubicBezTo>
                  <a:pt x="247" y="55"/>
                  <a:pt x="247" y="55"/>
                  <a:pt x="247" y="55"/>
                </a:cubicBezTo>
                <a:cubicBezTo>
                  <a:pt x="217" y="34"/>
                  <a:pt x="217" y="34"/>
                  <a:pt x="217" y="34"/>
                </a:cubicBezTo>
                <a:cubicBezTo>
                  <a:pt x="213" y="31"/>
                  <a:pt x="207" y="30"/>
                  <a:pt x="202" y="32"/>
                </a:cubicBezTo>
                <a:cubicBezTo>
                  <a:pt x="193" y="36"/>
                  <a:pt x="193" y="36"/>
                  <a:pt x="193" y="36"/>
                </a:cubicBezTo>
                <a:cubicBezTo>
                  <a:pt x="192" y="36"/>
                  <a:pt x="192" y="36"/>
                  <a:pt x="192" y="37"/>
                </a:cubicBezTo>
                <a:cubicBezTo>
                  <a:pt x="181" y="42"/>
                  <a:pt x="181" y="42"/>
                  <a:pt x="181" y="42"/>
                </a:cubicBezTo>
                <a:cubicBezTo>
                  <a:pt x="176" y="45"/>
                  <a:pt x="172" y="50"/>
                  <a:pt x="173" y="57"/>
                </a:cubicBezTo>
                <a:cubicBezTo>
                  <a:pt x="174" y="93"/>
                  <a:pt x="174" y="93"/>
                  <a:pt x="174" y="93"/>
                </a:cubicBezTo>
                <a:cubicBezTo>
                  <a:pt x="162" y="101"/>
                  <a:pt x="162" y="101"/>
                  <a:pt x="162" y="101"/>
                </a:cubicBezTo>
                <a:cubicBezTo>
                  <a:pt x="127" y="90"/>
                  <a:pt x="127" y="90"/>
                  <a:pt x="127" y="90"/>
                </a:cubicBezTo>
                <a:cubicBezTo>
                  <a:pt x="121" y="88"/>
                  <a:pt x="115" y="89"/>
                  <a:pt x="110" y="94"/>
                </a:cubicBezTo>
                <a:cubicBezTo>
                  <a:pt x="95" y="109"/>
                  <a:pt x="95" y="109"/>
                  <a:pt x="95" y="109"/>
                </a:cubicBezTo>
                <a:cubicBezTo>
                  <a:pt x="90" y="113"/>
                  <a:pt x="89" y="120"/>
                  <a:pt x="91" y="126"/>
                </a:cubicBezTo>
                <a:cubicBezTo>
                  <a:pt x="102" y="159"/>
                  <a:pt x="102" y="159"/>
                  <a:pt x="102" y="159"/>
                </a:cubicBezTo>
                <a:cubicBezTo>
                  <a:pt x="102" y="159"/>
                  <a:pt x="102" y="160"/>
                  <a:pt x="101" y="160"/>
                </a:cubicBezTo>
                <a:cubicBezTo>
                  <a:pt x="98" y="166"/>
                  <a:pt x="98" y="166"/>
                  <a:pt x="98" y="166"/>
                </a:cubicBezTo>
                <a:cubicBezTo>
                  <a:pt x="94" y="171"/>
                  <a:pt x="94" y="171"/>
                  <a:pt x="94" y="171"/>
                </a:cubicBezTo>
                <a:cubicBezTo>
                  <a:pt x="57" y="171"/>
                  <a:pt x="57" y="171"/>
                  <a:pt x="57" y="171"/>
                </a:cubicBezTo>
                <a:cubicBezTo>
                  <a:pt x="52" y="171"/>
                  <a:pt x="47" y="174"/>
                  <a:pt x="44" y="179"/>
                </a:cubicBezTo>
                <a:cubicBezTo>
                  <a:pt x="39" y="186"/>
                  <a:pt x="39" y="186"/>
                  <a:pt x="39" y="186"/>
                </a:cubicBezTo>
                <a:cubicBezTo>
                  <a:pt x="38" y="187"/>
                  <a:pt x="38" y="187"/>
                  <a:pt x="38" y="188"/>
                </a:cubicBezTo>
                <a:cubicBezTo>
                  <a:pt x="32" y="198"/>
                  <a:pt x="32" y="198"/>
                  <a:pt x="32" y="198"/>
                </a:cubicBezTo>
                <a:cubicBezTo>
                  <a:pt x="30" y="204"/>
                  <a:pt x="30" y="211"/>
                  <a:pt x="34" y="215"/>
                </a:cubicBezTo>
                <a:cubicBezTo>
                  <a:pt x="56" y="243"/>
                  <a:pt x="56" y="243"/>
                  <a:pt x="56" y="243"/>
                </a:cubicBezTo>
                <a:cubicBezTo>
                  <a:pt x="53" y="251"/>
                  <a:pt x="53" y="251"/>
                  <a:pt x="53" y="251"/>
                </a:cubicBezTo>
                <a:cubicBezTo>
                  <a:pt x="53" y="251"/>
                  <a:pt x="53" y="252"/>
                  <a:pt x="53" y="252"/>
                </a:cubicBezTo>
                <a:cubicBezTo>
                  <a:pt x="52" y="258"/>
                  <a:pt x="52" y="258"/>
                  <a:pt x="52" y="258"/>
                </a:cubicBezTo>
                <a:cubicBezTo>
                  <a:pt x="17" y="269"/>
                  <a:pt x="17" y="269"/>
                  <a:pt x="17" y="269"/>
                </a:cubicBezTo>
                <a:cubicBezTo>
                  <a:pt x="11" y="270"/>
                  <a:pt x="7" y="275"/>
                  <a:pt x="5" y="280"/>
                </a:cubicBezTo>
                <a:cubicBezTo>
                  <a:pt x="3" y="291"/>
                  <a:pt x="3" y="291"/>
                  <a:pt x="3" y="291"/>
                </a:cubicBezTo>
                <a:cubicBezTo>
                  <a:pt x="3" y="291"/>
                  <a:pt x="3" y="292"/>
                  <a:pt x="2" y="293"/>
                </a:cubicBezTo>
                <a:cubicBezTo>
                  <a:pt x="1" y="304"/>
                  <a:pt x="1" y="304"/>
                  <a:pt x="1" y="304"/>
                </a:cubicBezTo>
                <a:cubicBezTo>
                  <a:pt x="1" y="310"/>
                  <a:pt x="3" y="316"/>
                  <a:pt x="9" y="320"/>
                </a:cubicBezTo>
                <a:cubicBezTo>
                  <a:pt x="39" y="339"/>
                  <a:pt x="39" y="339"/>
                  <a:pt x="39" y="339"/>
                </a:cubicBezTo>
                <a:cubicBezTo>
                  <a:pt x="39" y="345"/>
                  <a:pt x="39" y="345"/>
                  <a:pt x="39" y="345"/>
                </a:cubicBezTo>
                <a:cubicBezTo>
                  <a:pt x="38" y="346"/>
                  <a:pt x="38" y="346"/>
                  <a:pt x="39" y="347"/>
                </a:cubicBezTo>
                <a:cubicBezTo>
                  <a:pt x="39" y="353"/>
                  <a:pt x="39" y="353"/>
                  <a:pt x="39" y="353"/>
                </a:cubicBezTo>
                <a:cubicBezTo>
                  <a:pt x="8" y="374"/>
                  <a:pt x="8" y="374"/>
                  <a:pt x="8" y="374"/>
                </a:cubicBezTo>
                <a:cubicBezTo>
                  <a:pt x="3" y="377"/>
                  <a:pt x="0" y="384"/>
                  <a:pt x="1" y="390"/>
                </a:cubicBezTo>
                <a:cubicBezTo>
                  <a:pt x="5" y="411"/>
                  <a:pt x="5" y="411"/>
                  <a:pt x="5" y="411"/>
                </a:cubicBezTo>
                <a:cubicBezTo>
                  <a:pt x="6" y="417"/>
                  <a:pt x="10" y="421"/>
                  <a:pt x="16" y="423"/>
                </a:cubicBezTo>
                <a:cubicBezTo>
                  <a:pt x="52" y="435"/>
                  <a:pt x="52" y="435"/>
                  <a:pt x="52" y="435"/>
                </a:cubicBezTo>
                <a:cubicBezTo>
                  <a:pt x="53" y="440"/>
                  <a:pt x="53" y="440"/>
                  <a:pt x="53" y="440"/>
                </a:cubicBezTo>
                <a:cubicBezTo>
                  <a:pt x="53" y="441"/>
                  <a:pt x="53" y="442"/>
                  <a:pt x="54" y="443"/>
                </a:cubicBezTo>
                <a:cubicBezTo>
                  <a:pt x="56" y="449"/>
                  <a:pt x="56" y="449"/>
                  <a:pt x="56" y="449"/>
                </a:cubicBezTo>
                <a:cubicBezTo>
                  <a:pt x="34" y="478"/>
                  <a:pt x="34" y="478"/>
                  <a:pt x="34" y="478"/>
                </a:cubicBezTo>
                <a:cubicBezTo>
                  <a:pt x="30" y="483"/>
                  <a:pt x="30" y="490"/>
                  <a:pt x="33" y="496"/>
                </a:cubicBezTo>
                <a:cubicBezTo>
                  <a:pt x="43" y="514"/>
                  <a:pt x="43" y="514"/>
                  <a:pt x="43" y="514"/>
                </a:cubicBezTo>
                <a:cubicBezTo>
                  <a:pt x="46" y="519"/>
                  <a:pt x="52" y="522"/>
                  <a:pt x="58" y="522"/>
                </a:cubicBezTo>
                <a:cubicBezTo>
                  <a:pt x="94" y="521"/>
                  <a:pt x="94" y="521"/>
                  <a:pt x="94" y="521"/>
                </a:cubicBezTo>
                <a:cubicBezTo>
                  <a:pt x="98" y="527"/>
                  <a:pt x="98" y="527"/>
                  <a:pt x="98" y="527"/>
                </a:cubicBezTo>
                <a:cubicBezTo>
                  <a:pt x="98" y="528"/>
                  <a:pt x="98" y="528"/>
                  <a:pt x="99" y="529"/>
                </a:cubicBezTo>
                <a:cubicBezTo>
                  <a:pt x="102" y="533"/>
                  <a:pt x="102" y="533"/>
                  <a:pt x="102" y="533"/>
                </a:cubicBezTo>
                <a:cubicBezTo>
                  <a:pt x="91" y="568"/>
                  <a:pt x="91" y="568"/>
                  <a:pt x="91" y="568"/>
                </a:cubicBezTo>
                <a:cubicBezTo>
                  <a:pt x="89" y="573"/>
                  <a:pt x="90" y="580"/>
                  <a:pt x="95" y="584"/>
                </a:cubicBezTo>
                <a:cubicBezTo>
                  <a:pt x="110" y="600"/>
                  <a:pt x="110" y="600"/>
                  <a:pt x="110" y="600"/>
                </a:cubicBezTo>
                <a:cubicBezTo>
                  <a:pt x="115" y="604"/>
                  <a:pt x="121" y="605"/>
                  <a:pt x="127" y="603"/>
                </a:cubicBezTo>
                <a:cubicBezTo>
                  <a:pt x="162" y="592"/>
                  <a:pt x="162" y="592"/>
                  <a:pt x="162" y="592"/>
                </a:cubicBezTo>
                <a:cubicBezTo>
                  <a:pt x="167" y="596"/>
                  <a:pt x="167" y="596"/>
                  <a:pt x="167" y="596"/>
                </a:cubicBezTo>
                <a:cubicBezTo>
                  <a:pt x="167" y="596"/>
                  <a:pt x="168" y="596"/>
                  <a:pt x="168" y="596"/>
                </a:cubicBezTo>
                <a:cubicBezTo>
                  <a:pt x="174" y="600"/>
                  <a:pt x="174" y="600"/>
                  <a:pt x="174" y="600"/>
                </a:cubicBezTo>
                <a:cubicBezTo>
                  <a:pt x="173" y="635"/>
                  <a:pt x="173" y="635"/>
                  <a:pt x="173" y="635"/>
                </a:cubicBezTo>
                <a:cubicBezTo>
                  <a:pt x="172" y="641"/>
                  <a:pt x="175" y="647"/>
                  <a:pt x="180" y="650"/>
                </a:cubicBezTo>
                <a:cubicBezTo>
                  <a:pt x="190" y="656"/>
                  <a:pt x="190" y="656"/>
                  <a:pt x="190" y="656"/>
                </a:cubicBezTo>
                <a:cubicBezTo>
                  <a:pt x="191" y="656"/>
                  <a:pt x="192" y="657"/>
                  <a:pt x="193" y="657"/>
                </a:cubicBezTo>
                <a:cubicBezTo>
                  <a:pt x="202" y="661"/>
                  <a:pt x="202" y="661"/>
                  <a:pt x="202" y="661"/>
                </a:cubicBezTo>
                <a:cubicBezTo>
                  <a:pt x="207" y="663"/>
                  <a:pt x="213" y="663"/>
                  <a:pt x="218" y="659"/>
                </a:cubicBezTo>
                <a:cubicBezTo>
                  <a:pt x="245" y="638"/>
                  <a:pt x="245" y="638"/>
                  <a:pt x="245" y="638"/>
                </a:cubicBezTo>
                <a:cubicBezTo>
                  <a:pt x="246" y="639"/>
                  <a:pt x="247" y="639"/>
                  <a:pt x="248" y="639"/>
                </a:cubicBezTo>
                <a:cubicBezTo>
                  <a:pt x="254" y="640"/>
                  <a:pt x="254" y="640"/>
                  <a:pt x="254" y="640"/>
                </a:cubicBezTo>
                <a:cubicBezTo>
                  <a:pt x="261" y="642"/>
                  <a:pt x="261" y="642"/>
                  <a:pt x="261" y="642"/>
                </a:cubicBezTo>
                <a:cubicBezTo>
                  <a:pt x="273" y="677"/>
                  <a:pt x="273" y="677"/>
                  <a:pt x="273" y="677"/>
                </a:cubicBezTo>
                <a:cubicBezTo>
                  <a:pt x="275" y="683"/>
                  <a:pt x="280" y="687"/>
                  <a:pt x="286" y="688"/>
                </a:cubicBezTo>
                <a:cubicBezTo>
                  <a:pt x="307" y="691"/>
                  <a:pt x="307" y="691"/>
                  <a:pt x="307" y="691"/>
                </a:cubicBezTo>
                <a:cubicBezTo>
                  <a:pt x="312" y="691"/>
                  <a:pt x="318" y="689"/>
                  <a:pt x="322" y="684"/>
                </a:cubicBezTo>
                <a:cubicBezTo>
                  <a:pt x="343" y="655"/>
                  <a:pt x="343" y="655"/>
                  <a:pt x="343" y="655"/>
                </a:cubicBezTo>
                <a:cubicBezTo>
                  <a:pt x="358" y="655"/>
                  <a:pt x="358" y="655"/>
                  <a:pt x="358" y="655"/>
                </a:cubicBezTo>
                <a:cubicBezTo>
                  <a:pt x="379" y="684"/>
                  <a:pt x="379" y="684"/>
                  <a:pt x="379" y="684"/>
                </a:cubicBezTo>
                <a:cubicBezTo>
                  <a:pt x="382" y="688"/>
                  <a:pt x="387" y="691"/>
                  <a:pt x="392" y="691"/>
                </a:cubicBezTo>
                <a:cubicBezTo>
                  <a:pt x="393" y="691"/>
                  <a:pt x="394" y="691"/>
                  <a:pt x="394" y="691"/>
                </a:cubicBezTo>
                <a:cubicBezTo>
                  <a:pt x="415" y="688"/>
                  <a:pt x="415" y="688"/>
                  <a:pt x="415" y="688"/>
                </a:cubicBezTo>
                <a:cubicBezTo>
                  <a:pt x="421" y="687"/>
                  <a:pt x="426" y="683"/>
                  <a:pt x="428" y="677"/>
                </a:cubicBezTo>
                <a:cubicBezTo>
                  <a:pt x="440" y="642"/>
                  <a:pt x="440" y="642"/>
                  <a:pt x="440" y="642"/>
                </a:cubicBezTo>
                <a:cubicBezTo>
                  <a:pt x="448" y="640"/>
                  <a:pt x="448" y="640"/>
                  <a:pt x="448" y="640"/>
                </a:cubicBezTo>
                <a:cubicBezTo>
                  <a:pt x="448" y="640"/>
                  <a:pt x="448" y="639"/>
                  <a:pt x="448" y="639"/>
                </a:cubicBezTo>
                <a:cubicBezTo>
                  <a:pt x="454" y="637"/>
                  <a:pt x="454" y="637"/>
                  <a:pt x="454" y="637"/>
                </a:cubicBezTo>
                <a:cubicBezTo>
                  <a:pt x="483" y="659"/>
                  <a:pt x="483" y="659"/>
                  <a:pt x="483" y="659"/>
                </a:cubicBezTo>
                <a:cubicBezTo>
                  <a:pt x="488" y="663"/>
                  <a:pt x="494" y="663"/>
                  <a:pt x="499" y="661"/>
                </a:cubicBezTo>
                <a:cubicBezTo>
                  <a:pt x="508" y="657"/>
                  <a:pt x="508" y="657"/>
                  <a:pt x="508" y="657"/>
                </a:cubicBezTo>
                <a:cubicBezTo>
                  <a:pt x="509" y="657"/>
                  <a:pt x="510" y="656"/>
                  <a:pt x="510" y="656"/>
                </a:cubicBezTo>
                <a:cubicBezTo>
                  <a:pt x="521" y="650"/>
                  <a:pt x="521" y="650"/>
                  <a:pt x="521" y="650"/>
                </a:cubicBezTo>
                <a:cubicBezTo>
                  <a:pt x="525" y="647"/>
                  <a:pt x="528" y="641"/>
                  <a:pt x="528" y="636"/>
                </a:cubicBezTo>
                <a:cubicBezTo>
                  <a:pt x="528" y="600"/>
                  <a:pt x="528" y="600"/>
                  <a:pt x="528" y="600"/>
                </a:cubicBezTo>
                <a:cubicBezTo>
                  <a:pt x="533" y="596"/>
                  <a:pt x="533" y="596"/>
                  <a:pt x="533" y="596"/>
                </a:cubicBezTo>
                <a:cubicBezTo>
                  <a:pt x="539" y="592"/>
                  <a:pt x="539" y="592"/>
                  <a:pt x="539" y="592"/>
                </a:cubicBezTo>
                <a:cubicBezTo>
                  <a:pt x="574" y="603"/>
                  <a:pt x="574" y="603"/>
                  <a:pt x="574" y="603"/>
                </a:cubicBezTo>
                <a:cubicBezTo>
                  <a:pt x="580" y="605"/>
                  <a:pt x="586" y="604"/>
                  <a:pt x="591" y="600"/>
                </a:cubicBezTo>
                <a:cubicBezTo>
                  <a:pt x="606" y="584"/>
                  <a:pt x="606" y="584"/>
                  <a:pt x="606" y="584"/>
                </a:cubicBezTo>
                <a:cubicBezTo>
                  <a:pt x="610" y="580"/>
                  <a:pt x="612" y="573"/>
                  <a:pt x="610" y="568"/>
                </a:cubicBezTo>
                <a:cubicBezTo>
                  <a:pt x="599" y="533"/>
                  <a:pt x="599" y="533"/>
                  <a:pt x="599" y="533"/>
                </a:cubicBezTo>
                <a:cubicBezTo>
                  <a:pt x="602" y="528"/>
                  <a:pt x="602" y="528"/>
                  <a:pt x="602" y="528"/>
                </a:cubicBezTo>
                <a:cubicBezTo>
                  <a:pt x="603" y="528"/>
                  <a:pt x="603" y="528"/>
                  <a:pt x="603" y="527"/>
                </a:cubicBezTo>
                <a:cubicBezTo>
                  <a:pt x="607" y="521"/>
                  <a:pt x="607" y="521"/>
                  <a:pt x="607" y="521"/>
                </a:cubicBezTo>
                <a:cubicBezTo>
                  <a:pt x="643" y="522"/>
                  <a:pt x="643" y="522"/>
                  <a:pt x="643" y="522"/>
                </a:cubicBezTo>
                <a:cubicBezTo>
                  <a:pt x="649" y="522"/>
                  <a:pt x="655" y="519"/>
                  <a:pt x="658" y="514"/>
                </a:cubicBezTo>
                <a:cubicBezTo>
                  <a:pt x="668" y="496"/>
                  <a:pt x="668" y="496"/>
                  <a:pt x="668" y="496"/>
                </a:cubicBezTo>
                <a:cubicBezTo>
                  <a:pt x="671" y="490"/>
                  <a:pt x="671" y="483"/>
                  <a:pt x="667" y="478"/>
                </a:cubicBezTo>
                <a:cubicBezTo>
                  <a:pt x="645" y="449"/>
                  <a:pt x="645" y="449"/>
                  <a:pt x="645" y="449"/>
                </a:cubicBezTo>
                <a:cubicBezTo>
                  <a:pt x="647" y="443"/>
                  <a:pt x="647" y="443"/>
                  <a:pt x="647" y="443"/>
                </a:cubicBezTo>
                <a:cubicBezTo>
                  <a:pt x="647" y="443"/>
                  <a:pt x="648" y="442"/>
                  <a:pt x="648" y="441"/>
                </a:cubicBezTo>
                <a:cubicBezTo>
                  <a:pt x="649" y="435"/>
                  <a:pt x="649" y="435"/>
                  <a:pt x="649" y="435"/>
                </a:cubicBezTo>
                <a:cubicBezTo>
                  <a:pt x="685" y="423"/>
                  <a:pt x="685" y="423"/>
                  <a:pt x="685" y="423"/>
                </a:cubicBezTo>
                <a:cubicBezTo>
                  <a:pt x="691" y="421"/>
                  <a:pt x="695" y="416"/>
                  <a:pt x="696" y="410"/>
                </a:cubicBezTo>
                <a:cubicBezTo>
                  <a:pt x="698" y="389"/>
                  <a:pt x="698" y="389"/>
                  <a:pt x="698" y="389"/>
                </a:cubicBezTo>
                <a:cubicBezTo>
                  <a:pt x="699" y="383"/>
                  <a:pt x="697" y="377"/>
                  <a:pt x="692" y="37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CH" sz="1600" dirty="0"/>
          </a:p>
        </p:txBody>
      </p:sp>
      <p:sp>
        <p:nvSpPr>
          <p:cNvPr id="78" name="Oval 54"/>
          <p:cNvSpPr>
            <a:spLocks noChangeAspect="1" noChangeArrowheads="1"/>
          </p:cNvSpPr>
          <p:nvPr>
            <p:custDataLst>
              <p:tags r:id="rId11"/>
            </p:custDataLst>
          </p:nvPr>
        </p:nvSpPr>
        <p:spPr bwMode="gray">
          <a:xfrm>
            <a:off x="3665872" y="3246359"/>
            <a:ext cx="1080000" cy="1081402"/>
          </a:xfrm>
          <a:prstGeom prst="ellipse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/>
          <a:lstStyle/>
          <a:p>
            <a:pPr algn="ctr"/>
            <a:r>
              <a:rPr lang="fr-CH" sz="1600" b="1" dirty="0">
                <a:solidFill>
                  <a:schemeClr val="accent1"/>
                </a:solidFill>
              </a:rPr>
              <a:t>titre</a:t>
            </a:r>
          </a:p>
          <a:p>
            <a:pPr algn="ctr"/>
            <a:endParaRPr lang="fr-CH" sz="1600" b="1" dirty="0">
              <a:solidFill>
                <a:schemeClr val="accent1"/>
              </a:solidFill>
            </a:endParaRPr>
          </a:p>
        </p:txBody>
      </p:sp>
      <p:sp>
        <p:nvSpPr>
          <p:cNvPr id="83" name="Freeform 5"/>
          <p:cNvSpPr>
            <a:spLocks/>
          </p:cNvSpPr>
          <p:nvPr>
            <p:custDataLst>
              <p:tags r:id="rId12"/>
            </p:custDataLst>
          </p:nvPr>
        </p:nvSpPr>
        <p:spPr bwMode="gray">
          <a:xfrm>
            <a:off x="7284296" y="3049060"/>
            <a:ext cx="1476000" cy="1476000"/>
          </a:xfrm>
          <a:custGeom>
            <a:avLst/>
            <a:gdLst>
              <a:gd name="T0" fmla="*/ 662 w 699"/>
              <a:gd name="T1" fmla="*/ 347 h 691"/>
              <a:gd name="T2" fmla="*/ 691 w 699"/>
              <a:gd name="T3" fmla="*/ 320 h 691"/>
              <a:gd name="T4" fmla="*/ 684 w 699"/>
              <a:gd name="T5" fmla="*/ 269 h 691"/>
              <a:gd name="T6" fmla="*/ 645 w 699"/>
              <a:gd name="T7" fmla="*/ 243 h 691"/>
              <a:gd name="T8" fmla="*/ 663 w 699"/>
              <a:gd name="T9" fmla="*/ 188 h 691"/>
              <a:gd name="T10" fmla="*/ 644 w 699"/>
              <a:gd name="T11" fmla="*/ 171 h 691"/>
              <a:gd name="T12" fmla="*/ 602 w 699"/>
              <a:gd name="T13" fmla="*/ 165 h 691"/>
              <a:gd name="T14" fmla="*/ 606 w 699"/>
              <a:gd name="T15" fmla="*/ 109 h 691"/>
              <a:gd name="T16" fmla="*/ 540 w 699"/>
              <a:gd name="T17" fmla="*/ 101 h 691"/>
              <a:gd name="T18" fmla="*/ 528 w 699"/>
              <a:gd name="T19" fmla="*/ 93 h 691"/>
              <a:gd name="T20" fmla="*/ 509 w 699"/>
              <a:gd name="T21" fmla="*/ 37 h 691"/>
              <a:gd name="T22" fmla="*/ 484 w 699"/>
              <a:gd name="T23" fmla="*/ 34 h 691"/>
              <a:gd name="T24" fmla="*/ 447 w 699"/>
              <a:gd name="T25" fmla="*/ 52 h 691"/>
              <a:gd name="T26" fmla="*/ 417 w 699"/>
              <a:gd name="T27" fmla="*/ 6 h 691"/>
              <a:gd name="T28" fmla="*/ 394 w 699"/>
              <a:gd name="T29" fmla="*/ 1 h 691"/>
              <a:gd name="T30" fmla="*/ 352 w 699"/>
              <a:gd name="T31" fmla="*/ 37 h 691"/>
              <a:gd name="T32" fmla="*/ 322 w 699"/>
              <a:gd name="T33" fmla="*/ 8 h 691"/>
              <a:gd name="T34" fmla="*/ 273 w 699"/>
              <a:gd name="T35" fmla="*/ 16 h 691"/>
              <a:gd name="T36" fmla="*/ 253 w 699"/>
              <a:gd name="T37" fmla="*/ 52 h 691"/>
              <a:gd name="T38" fmla="*/ 217 w 699"/>
              <a:gd name="T39" fmla="*/ 34 h 691"/>
              <a:gd name="T40" fmla="*/ 192 w 699"/>
              <a:gd name="T41" fmla="*/ 37 h 691"/>
              <a:gd name="T42" fmla="*/ 174 w 699"/>
              <a:gd name="T43" fmla="*/ 93 h 691"/>
              <a:gd name="T44" fmla="*/ 110 w 699"/>
              <a:gd name="T45" fmla="*/ 94 h 691"/>
              <a:gd name="T46" fmla="*/ 102 w 699"/>
              <a:gd name="T47" fmla="*/ 159 h 691"/>
              <a:gd name="T48" fmla="*/ 94 w 699"/>
              <a:gd name="T49" fmla="*/ 171 h 691"/>
              <a:gd name="T50" fmla="*/ 39 w 699"/>
              <a:gd name="T51" fmla="*/ 186 h 691"/>
              <a:gd name="T52" fmla="*/ 34 w 699"/>
              <a:gd name="T53" fmla="*/ 215 h 691"/>
              <a:gd name="T54" fmla="*/ 53 w 699"/>
              <a:gd name="T55" fmla="*/ 252 h 691"/>
              <a:gd name="T56" fmla="*/ 5 w 699"/>
              <a:gd name="T57" fmla="*/ 280 h 691"/>
              <a:gd name="T58" fmla="*/ 1 w 699"/>
              <a:gd name="T59" fmla="*/ 304 h 691"/>
              <a:gd name="T60" fmla="*/ 39 w 699"/>
              <a:gd name="T61" fmla="*/ 345 h 691"/>
              <a:gd name="T62" fmla="*/ 8 w 699"/>
              <a:gd name="T63" fmla="*/ 374 h 691"/>
              <a:gd name="T64" fmla="*/ 16 w 699"/>
              <a:gd name="T65" fmla="*/ 423 h 691"/>
              <a:gd name="T66" fmla="*/ 54 w 699"/>
              <a:gd name="T67" fmla="*/ 443 h 691"/>
              <a:gd name="T68" fmla="*/ 33 w 699"/>
              <a:gd name="T69" fmla="*/ 496 h 691"/>
              <a:gd name="T70" fmla="*/ 94 w 699"/>
              <a:gd name="T71" fmla="*/ 521 h 691"/>
              <a:gd name="T72" fmla="*/ 102 w 699"/>
              <a:gd name="T73" fmla="*/ 533 h 691"/>
              <a:gd name="T74" fmla="*/ 110 w 699"/>
              <a:gd name="T75" fmla="*/ 600 h 691"/>
              <a:gd name="T76" fmla="*/ 167 w 699"/>
              <a:gd name="T77" fmla="*/ 596 h 691"/>
              <a:gd name="T78" fmla="*/ 173 w 699"/>
              <a:gd name="T79" fmla="*/ 635 h 691"/>
              <a:gd name="T80" fmla="*/ 193 w 699"/>
              <a:gd name="T81" fmla="*/ 657 h 691"/>
              <a:gd name="T82" fmla="*/ 245 w 699"/>
              <a:gd name="T83" fmla="*/ 638 h 691"/>
              <a:gd name="T84" fmla="*/ 261 w 699"/>
              <a:gd name="T85" fmla="*/ 642 h 691"/>
              <a:gd name="T86" fmla="*/ 307 w 699"/>
              <a:gd name="T87" fmla="*/ 691 h 691"/>
              <a:gd name="T88" fmla="*/ 358 w 699"/>
              <a:gd name="T89" fmla="*/ 655 h 691"/>
              <a:gd name="T90" fmla="*/ 394 w 699"/>
              <a:gd name="T91" fmla="*/ 691 h 691"/>
              <a:gd name="T92" fmla="*/ 440 w 699"/>
              <a:gd name="T93" fmla="*/ 642 h 691"/>
              <a:gd name="T94" fmla="*/ 454 w 699"/>
              <a:gd name="T95" fmla="*/ 637 h 691"/>
              <a:gd name="T96" fmla="*/ 508 w 699"/>
              <a:gd name="T97" fmla="*/ 657 h 691"/>
              <a:gd name="T98" fmla="*/ 528 w 699"/>
              <a:gd name="T99" fmla="*/ 636 h 691"/>
              <a:gd name="T100" fmla="*/ 539 w 699"/>
              <a:gd name="T101" fmla="*/ 592 h 691"/>
              <a:gd name="T102" fmla="*/ 606 w 699"/>
              <a:gd name="T103" fmla="*/ 584 h 691"/>
              <a:gd name="T104" fmla="*/ 602 w 699"/>
              <a:gd name="T105" fmla="*/ 528 h 691"/>
              <a:gd name="T106" fmla="*/ 643 w 699"/>
              <a:gd name="T107" fmla="*/ 522 h 691"/>
              <a:gd name="T108" fmla="*/ 667 w 699"/>
              <a:gd name="T109" fmla="*/ 478 h 691"/>
              <a:gd name="T110" fmla="*/ 648 w 699"/>
              <a:gd name="T111" fmla="*/ 441 h 691"/>
              <a:gd name="T112" fmla="*/ 696 w 699"/>
              <a:gd name="T113" fmla="*/ 410 h 6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699" h="691">
                <a:moveTo>
                  <a:pt x="692" y="374"/>
                </a:moveTo>
                <a:cubicBezTo>
                  <a:pt x="662" y="354"/>
                  <a:pt x="662" y="354"/>
                  <a:pt x="662" y="354"/>
                </a:cubicBezTo>
                <a:cubicBezTo>
                  <a:pt x="662" y="347"/>
                  <a:pt x="662" y="347"/>
                  <a:pt x="662" y="347"/>
                </a:cubicBezTo>
                <a:cubicBezTo>
                  <a:pt x="662" y="346"/>
                  <a:pt x="662" y="346"/>
                  <a:pt x="662" y="345"/>
                </a:cubicBezTo>
                <a:cubicBezTo>
                  <a:pt x="662" y="339"/>
                  <a:pt x="662" y="339"/>
                  <a:pt x="662" y="339"/>
                </a:cubicBezTo>
                <a:cubicBezTo>
                  <a:pt x="691" y="320"/>
                  <a:pt x="691" y="320"/>
                  <a:pt x="691" y="320"/>
                </a:cubicBezTo>
                <a:cubicBezTo>
                  <a:pt x="696" y="316"/>
                  <a:pt x="699" y="310"/>
                  <a:pt x="698" y="304"/>
                </a:cubicBezTo>
                <a:cubicBezTo>
                  <a:pt x="696" y="282"/>
                  <a:pt x="696" y="282"/>
                  <a:pt x="696" y="282"/>
                </a:cubicBezTo>
                <a:cubicBezTo>
                  <a:pt x="695" y="276"/>
                  <a:pt x="691" y="271"/>
                  <a:pt x="684" y="269"/>
                </a:cubicBezTo>
                <a:cubicBezTo>
                  <a:pt x="650" y="259"/>
                  <a:pt x="650" y="259"/>
                  <a:pt x="650" y="259"/>
                </a:cubicBezTo>
                <a:cubicBezTo>
                  <a:pt x="650" y="259"/>
                  <a:pt x="650" y="259"/>
                  <a:pt x="650" y="258"/>
                </a:cubicBezTo>
                <a:cubicBezTo>
                  <a:pt x="645" y="243"/>
                  <a:pt x="645" y="243"/>
                  <a:pt x="645" y="243"/>
                </a:cubicBezTo>
                <a:cubicBezTo>
                  <a:pt x="667" y="215"/>
                  <a:pt x="667" y="215"/>
                  <a:pt x="667" y="215"/>
                </a:cubicBezTo>
                <a:cubicBezTo>
                  <a:pt x="671" y="211"/>
                  <a:pt x="671" y="204"/>
                  <a:pt x="668" y="198"/>
                </a:cubicBezTo>
                <a:cubicBezTo>
                  <a:pt x="663" y="188"/>
                  <a:pt x="663" y="188"/>
                  <a:pt x="663" y="188"/>
                </a:cubicBezTo>
                <a:cubicBezTo>
                  <a:pt x="663" y="187"/>
                  <a:pt x="663" y="187"/>
                  <a:pt x="662" y="186"/>
                </a:cubicBezTo>
                <a:cubicBezTo>
                  <a:pt x="657" y="179"/>
                  <a:pt x="657" y="179"/>
                  <a:pt x="657" y="179"/>
                </a:cubicBezTo>
                <a:cubicBezTo>
                  <a:pt x="654" y="174"/>
                  <a:pt x="649" y="171"/>
                  <a:pt x="644" y="171"/>
                </a:cubicBezTo>
                <a:cubicBezTo>
                  <a:pt x="607" y="171"/>
                  <a:pt x="607" y="171"/>
                  <a:pt x="607" y="171"/>
                </a:cubicBezTo>
                <a:cubicBezTo>
                  <a:pt x="603" y="165"/>
                  <a:pt x="603" y="165"/>
                  <a:pt x="603" y="165"/>
                </a:cubicBezTo>
                <a:cubicBezTo>
                  <a:pt x="603" y="165"/>
                  <a:pt x="602" y="165"/>
                  <a:pt x="602" y="165"/>
                </a:cubicBezTo>
                <a:cubicBezTo>
                  <a:pt x="599" y="160"/>
                  <a:pt x="599" y="160"/>
                  <a:pt x="599" y="160"/>
                </a:cubicBezTo>
                <a:cubicBezTo>
                  <a:pt x="610" y="126"/>
                  <a:pt x="610" y="126"/>
                  <a:pt x="610" y="126"/>
                </a:cubicBezTo>
                <a:cubicBezTo>
                  <a:pt x="612" y="120"/>
                  <a:pt x="610" y="113"/>
                  <a:pt x="606" y="109"/>
                </a:cubicBezTo>
                <a:cubicBezTo>
                  <a:pt x="591" y="94"/>
                  <a:pt x="591" y="94"/>
                  <a:pt x="591" y="94"/>
                </a:cubicBezTo>
                <a:cubicBezTo>
                  <a:pt x="586" y="89"/>
                  <a:pt x="580" y="88"/>
                  <a:pt x="574" y="90"/>
                </a:cubicBezTo>
                <a:cubicBezTo>
                  <a:pt x="540" y="101"/>
                  <a:pt x="540" y="101"/>
                  <a:pt x="540" y="101"/>
                </a:cubicBezTo>
                <a:cubicBezTo>
                  <a:pt x="540" y="101"/>
                  <a:pt x="539" y="101"/>
                  <a:pt x="539" y="100"/>
                </a:cubicBezTo>
                <a:cubicBezTo>
                  <a:pt x="533" y="97"/>
                  <a:pt x="533" y="97"/>
                  <a:pt x="533" y="97"/>
                </a:cubicBezTo>
                <a:cubicBezTo>
                  <a:pt x="528" y="93"/>
                  <a:pt x="528" y="93"/>
                  <a:pt x="528" y="93"/>
                </a:cubicBezTo>
                <a:cubicBezTo>
                  <a:pt x="528" y="56"/>
                  <a:pt x="528" y="56"/>
                  <a:pt x="528" y="56"/>
                </a:cubicBezTo>
                <a:cubicBezTo>
                  <a:pt x="528" y="50"/>
                  <a:pt x="525" y="44"/>
                  <a:pt x="519" y="42"/>
                </a:cubicBezTo>
                <a:cubicBezTo>
                  <a:pt x="509" y="37"/>
                  <a:pt x="509" y="37"/>
                  <a:pt x="509" y="37"/>
                </a:cubicBezTo>
                <a:cubicBezTo>
                  <a:pt x="509" y="36"/>
                  <a:pt x="509" y="36"/>
                  <a:pt x="508" y="36"/>
                </a:cubicBezTo>
                <a:cubicBezTo>
                  <a:pt x="499" y="32"/>
                  <a:pt x="499" y="32"/>
                  <a:pt x="499" y="32"/>
                </a:cubicBezTo>
                <a:cubicBezTo>
                  <a:pt x="494" y="30"/>
                  <a:pt x="488" y="31"/>
                  <a:pt x="484" y="34"/>
                </a:cubicBezTo>
                <a:cubicBezTo>
                  <a:pt x="454" y="55"/>
                  <a:pt x="454" y="55"/>
                  <a:pt x="454" y="55"/>
                </a:cubicBezTo>
                <a:cubicBezTo>
                  <a:pt x="449" y="53"/>
                  <a:pt x="449" y="53"/>
                  <a:pt x="449" y="53"/>
                </a:cubicBezTo>
                <a:cubicBezTo>
                  <a:pt x="448" y="52"/>
                  <a:pt x="447" y="52"/>
                  <a:pt x="447" y="52"/>
                </a:cubicBezTo>
                <a:cubicBezTo>
                  <a:pt x="440" y="50"/>
                  <a:pt x="440" y="50"/>
                  <a:pt x="440" y="50"/>
                </a:cubicBezTo>
                <a:cubicBezTo>
                  <a:pt x="428" y="16"/>
                  <a:pt x="428" y="16"/>
                  <a:pt x="428" y="16"/>
                </a:cubicBezTo>
                <a:cubicBezTo>
                  <a:pt x="427" y="11"/>
                  <a:pt x="422" y="7"/>
                  <a:pt x="417" y="6"/>
                </a:cubicBezTo>
                <a:cubicBezTo>
                  <a:pt x="407" y="3"/>
                  <a:pt x="407" y="3"/>
                  <a:pt x="407" y="3"/>
                </a:cubicBezTo>
                <a:cubicBezTo>
                  <a:pt x="406" y="3"/>
                  <a:pt x="405" y="3"/>
                  <a:pt x="405" y="3"/>
                </a:cubicBezTo>
                <a:cubicBezTo>
                  <a:pt x="394" y="1"/>
                  <a:pt x="394" y="1"/>
                  <a:pt x="394" y="1"/>
                </a:cubicBezTo>
                <a:cubicBezTo>
                  <a:pt x="388" y="1"/>
                  <a:pt x="383" y="3"/>
                  <a:pt x="379" y="8"/>
                </a:cubicBezTo>
                <a:cubicBezTo>
                  <a:pt x="359" y="38"/>
                  <a:pt x="359" y="38"/>
                  <a:pt x="359" y="38"/>
                </a:cubicBezTo>
                <a:cubicBezTo>
                  <a:pt x="352" y="37"/>
                  <a:pt x="352" y="37"/>
                  <a:pt x="352" y="37"/>
                </a:cubicBezTo>
                <a:cubicBezTo>
                  <a:pt x="352" y="37"/>
                  <a:pt x="351" y="37"/>
                  <a:pt x="350" y="37"/>
                </a:cubicBezTo>
                <a:cubicBezTo>
                  <a:pt x="342" y="38"/>
                  <a:pt x="342" y="38"/>
                  <a:pt x="342" y="38"/>
                </a:cubicBezTo>
                <a:cubicBezTo>
                  <a:pt x="322" y="8"/>
                  <a:pt x="322" y="8"/>
                  <a:pt x="322" y="8"/>
                </a:cubicBezTo>
                <a:cubicBezTo>
                  <a:pt x="318" y="3"/>
                  <a:pt x="312" y="0"/>
                  <a:pt x="306" y="2"/>
                </a:cubicBezTo>
                <a:cubicBezTo>
                  <a:pt x="285" y="5"/>
                  <a:pt x="285" y="5"/>
                  <a:pt x="285" y="5"/>
                </a:cubicBezTo>
                <a:cubicBezTo>
                  <a:pt x="279" y="7"/>
                  <a:pt x="275" y="11"/>
                  <a:pt x="273" y="16"/>
                </a:cubicBezTo>
                <a:cubicBezTo>
                  <a:pt x="262" y="50"/>
                  <a:pt x="262" y="50"/>
                  <a:pt x="262" y="50"/>
                </a:cubicBezTo>
                <a:cubicBezTo>
                  <a:pt x="261" y="50"/>
                  <a:pt x="261" y="50"/>
                  <a:pt x="261" y="50"/>
                </a:cubicBezTo>
                <a:cubicBezTo>
                  <a:pt x="253" y="52"/>
                  <a:pt x="253" y="52"/>
                  <a:pt x="253" y="52"/>
                </a:cubicBezTo>
                <a:cubicBezTo>
                  <a:pt x="253" y="52"/>
                  <a:pt x="253" y="53"/>
                  <a:pt x="253" y="53"/>
                </a:cubicBezTo>
                <a:cubicBezTo>
                  <a:pt x="247" y="55"/>
                  <a:pt x="247" y="55"/>
                  <a:pt x="247" y="55"/>
                </a:cubicBezTo>
                <a:cubicBezTo>
                  <a:pt x="217" y="34"/>
                  <a:pt x="217" y="34"/>
                  <a:pt x="217" y="34"/>
                </a:cubicBezTo>
                <a:cubicBezTo>
                  <a:pt x="213" y="31"/>
                  <a:pt x="207" y="30"/>
                  <a:pt x="202" y="32"/>
                </a:cubicBezTo>
                <a:cubicBezTo>
                  <a:pt x="193" y="36"/>
                  <a:pt x="193" y="36"/>
                  <a:pt x="193" y="36"/>
                </a:cubicBezTo>
                <a:cubicBezTo>
                  <a:pt x="192" y="36"/>
                  <a:pt x="192" y="36"/>
                  <a:pt x="192" y="37"/>
                </a:cubicBezTo>
                <a:cubicBezTo>
                  <a:pt x="181" y="42"/>
                  <a:pt x="181" y="42"/>
                  <a:pt x="181" y="42"/>
                </a:cubicBezTo>
                <a:cubicBezTo>
                  <a:pt x="176" y="45"/>
                  <a:pt x="172" y="50"/>
                  <a:pt x="173" y="57"/>
                </a:cubicBezTo>
                <a:cubicBezTo>
                  <a:pt x="174" y="93"/>
                  <a:pt x="174" y="93"/>
                  <a:pt x="174" y="93"/>
                </a:cubicBezTo>
                <a:cubicBezTo>
                  <a:pt x="162" y="101"/>
                  <a:pt x="162" y="101"/>
                  <a:pt x="162" y="101"/>
                </a:cubicBezTo>
                <a:cubicBezTo>
                  <a:pt x="127" y="90"/>
                  <a:pt x="127" y="90"/>
                  <a:pt x="127" y="90"/>
                </a:cubicBezTo>
                <a:cubicBezTo>
                  <a:pt x="121" y="88"/>
                  <a:pt x="115" y="89"/>
                  <a:pt x="110" y="94"/>
                </a:cubicBezTo>
                <a:cubicBezTo>
                  <a:pt x="95" y="109"/>
                  <a:pt x="95" y="109"/>
                  <a:pt x="95" y="109"/>
                </a:cubicBezTo>
                <a:cubicBezTo>
                  <a:pt x="90" y="113"/>
                  <a:pt x="89" y="120"/>
                  <a:pt x="91" y="126"/>
                </a:cubicBezTo>
                <a:cubicBezTo>
                  <a:pt x="102" y="159"/>
                  <a:pt x="102" y="159"/>
                  <a:pt x="102" y="159"/>
                </a:cubicBezTo>
                <a:cubicBezTo>
                  <a:pt x="102" y="159"/>
                  <a:pt x="102" y="160"/>
                  <a:pt x="101" y="160"/>
                </a:cubicBezTo>
                <a:cubicBezTo>
                  <a:pt x="98" y="166"/>
                  <a:pt x="98" y="166"/>
                  <a:pt x="98" y="166"/>
                </a:cubicBezTo>
                <a:cubicBezTo>
                  <a:pt x="94" y="171"/>
                  <a:pt x="94" y="171"/>
                  <a:pt x="94" y="171"/>
                </a:cubicBezTo>
                <a:cubicBezTo>
                  <a:pt x="57" y="171"/>
                  <a:pt x="57" y="171"/>
                  <a:pt x="57" y="171"/>
                </a:cubicBezTo>
                <a:cubicBezTo>
                  <a:pt x="52" y="171"/>
                  <a:pt x="47" y="174"/>
                  <a:pt x="44" y="179"/>
                </a:cubicBezTo>
                <a:cubicBezTo>
                  <a:pt x="39" y="186"/>
                  <a:pt x="39" y="186"/>
                  <a:pt x="39" y="186"/>
                </a:cubicBezTo>
                <a:cubicBezTo>
                  <a:pt x="38" y="187"/>
                  <a:pt x="38" y="187"/>
                  <a:pt x="38" y="188"/>
                </a:cubicBezTo>
                <a:cubicBezTo>
                  <a:pt x="32" y="198"/>
                  <a:pt x="32" y="198"/>
                  <a:pt x="32" y="198"/>
                </a:cubicBezTo>
                <a:cubicBezTo>
                  <a:pt x="30" y="204"/>
                  <a:pt x="30" y="211"/>
                  <a:pt x="34" y="215"/>
                </a:cubicBezTo>
                <a:cubicBezTo>
                  <a:pt x="56" y="243"/>
                  <a:pt x="56" y="243"/>
                  <a:pt x="56" y="243"/>
                </a:cubicBezTo>
                <a:cubicBezTo>
                  <a:pt x="53" y="251"/>
                  <a:pt x="53" y="251"/>
                  <a:pt x="53" y="251"/>
                </a:cubicBezTo>
                <a:cubicBezTo>
                  <a:pt x="53" y="251"/>
                  <a:pt x="53" y="252"/>
                  <a:pt x="53" y="252"/>
                </a:cubicBezTo>
                <a:cubicBezTo>
                  <a:pt x="52" y="258"/>
                  <a:pt x="52" y="258"/>
                  <a:pt x="52" y="258"/>
                </a:cubicBezTo>
                <a:cubicBezTo>
                  <a:pt x="17" y="269"/>
                  <a:pt x="17" y="269"/>
                  <a:pt x="17" y="269"/>
                </a:cubicBezTo>
                <a:cubicBezTo>
                  <a:pt x="11" y="270"/>
                  <a:pt x="7" y="275"/>
                  <a:pt x="5" y="280"/>
                </a:cubicBezTo>
                <a:cubicBezTo>
                  <a:pt x="3" y="291"/>
                  <a:pt x="3" y="291"/>
                  <a:pt x="3" y="291"/>
                </a:cubicBezTo>
                <a:cubicBezTo>
                  <a:pt x="3" y="291"/>
                  <a:pt x="3" y="292"/>
                  <a:pt x="2" y="293"/>
                </a:cubicBezTo>
                <a:cubicBezTo>
                  <a:pt x="1" y="304"/>
                  <a:pt x="1" y="304"/>
                  <a:pt x="1" y="304"/>
                </a:cubicBezTo>
                <a:cubicBezTo>
                  <a:pt x="1" y="310"/>
                  <a:pt x="3" y="316"/>
                  <a:pt x="9" y="320"/>
                </a:cubicBezTo>
                <a:cubicBezTo>
                  <a:pt x="39" y="339"/>
                  <a:pt x="39" y="339"/>
                  <a:pt x="39" y="339"/>
                </a:cubicBezTo>
                <a:cubicBezTo>
                  <a:pt x="39" y="345"/>
                  <a:pt x="39" y="345"/>
                  <a:pt x="39" y="345"/>
                </a:cubicBezTo>
                <a:cubicBezTo>
                  <a:pt x="38" y="346"/>
                  <a:pt x="38" y="346"/>
                  <a:pt x="39" y="347"/>
                </a:cubicBezTo>
                <a:cubicBezTo>
                  <a:pt x="39" y="353"/>
                  <a:pt x="39" y="353"/>
                  <a:pt x="39" y="353"/>
                </a:cubicBezTo>
                <a:cubicBezTo>
                  <a:pt x="8" y="374"/>
                  <a:pt x="8" y="374"/>
                  <a:pt x="8" y="374"/>
                </a:cubicBezTo>
                <a:cubicBezTo>
                  <a:pt x="3" y="377"/>
                  <a:pt x="0" y="384"/>
                  <a:pt x="1" y="390"/>
                </a:cubicBezTo>
                <a:cubicBezTo>
                  <a:pt x="5" y="411"/>
                  <a:pt x="5" y="411"/>
                  <a:pt x="5" y="411"/>
                </a:cubicBezTo>
                <a:cubicBezTo>
                  <a:pt x="6" y="417"/>
                  <a:pt x="10" y="421"/>
                  <a:pt x="16" y="423"/>
                </a:cubicBezTo>
                <a:cubicBezTo>
                  <a:pt x="52" y="435"/>
                  <a:pt x="52" y="435"/>
                  <a:pt x="52" y="435"/>
                </a:cubicBezTo>
                <a:cubicBezTo>
                  <a:pt x="53" y="440"/>
                  <a:pt x="53" y="440"/>
                  <a:pt x="53" y="440"/>
                </a:cubicBezTo>
                <a:cubicBezTo>
                  <a:pt x="53" y="441"/>
                  <a:pt x="53" y="442"/>
                  <a:pt x="54" y="443"/>
                </a:cubicBezTo>
                <a:cubicBezTo>
                  <a:pt x="56" y="449"/>
                  <a:pt x="56" y="449"/>
                  <a:pt x="56" y="449"/>
                </a:cubicBezTo>
                <a:cubicBezTo>
                  <a:pt x="34" y="478"/>
                  <a:pt x="34" y="478"/>
                  <a:pt x="34" y="478"/>
                </a:cubicBezTo>
                <a:cubicBezTo>
                  <a:pt x="30" y="483"/>
                  <a:pt x="30" y="490"/>
                  <a:pt x="33" y="496"/>
                </a:cubicBezTo>
                <a:cubicBezTo>
                  <a:pt x="43" y="514"/>
                  <a:pt x="43" y="514"/>
                  <a:pt x="43" y="514"/>
                </a:cubicBezTo>
                <a:cubicBezTo>
                  <a:pt x="46" y="519"/>
                  <a:pt x="52" y="522"/>
                  <a:pt x="58" y="522"/>
                </a:cubicBezTo>
                <a:cubicBezTo>
                  <a:pt x="94" y="521"/>
                  <a:pt x="94" y="521"/>
                  <a:pt x="94" y="521"/>
                </a:cubicBezTo>
                <a:cubicBezTo>
                  <a:pt x="98" y="527"/>
                  <a:pt x="98" y="527"/>
                  <a:pt x="98" y="527"/>
                </a:cubicBezTo>
                <a:cubicBezTo>
                  <a:pt x="98" y="528"/>
                  <a:pt x="98" y="528"/>
                  <a:pt x="99" y="529"/>
                </a:cubicBezTo>
                <a:cubicBezTo>
                  <a:pt x="102" y="533"/>
                  <a:pt x="102" y="533"/>
                  <a:pt x="102" y="533"/>
                </a:cubicBezTo>
                <a:cubicBezTo>
                  <a:pt x="91" y="568"/>
                  <a:pt x="91" y="568"/>
                  <a:pt x="91" y="568"/>
                </a:cubicBezTo>
                <a:cubicBezTo>
                  <a:pt x="89" y="573"/>
                  <a:pt x="90" y="580"/>
                  <a:pt x="95" y="584"/>
                </a:cubicBezTo>
                <a:cubicBezTo>
                  <a:pt x="110" y="600"/>
                  <a:pt x="110" y="600"/>
                  <a:pt x="110" y="600"/>
                </a:cubicBezTo>
                <a:cubicBezTo>
                  <a:pt x="115" y="604"/>
                  <a:pt x="121" y="605"/>
                  <a:pt x="127" y="603"/>
                </a:cubicBezTo>
                <a:cubicBezTo>
                  <a:pt x="162" y="592"/>
                  <a:pt x="162" y="592"/>
                  <a:pt x="162" y="592"/>
                </a:cubicBezTo>
                <a:cubicBezTo>
                  <a:pt x="167" y="596"/>
                  <a:pt x="167" y="596"/>
                  <a:pt x="167" y="596"/>
                </a:cubicBezTo>
                <a:cubicBezTo>
                  <a:pt x="167" y="596"/>
                  <a:pt x="168" y="596"/>
                  <a:pt x="168" y="596"/>
                </a:cubicBezTo>
                <a:cubicBezTo>
                  <a:pt x="174" y="600"/>
                  <a:pt x="174" y="600"/>
                  <a:pt x="174" y="600"/>
                </a:cubicBezTo>
                <a:cubicBezTo>
                  <a:pt x="173" y="635"/>
                  <a:pt x="173" y="635"/>
                  <a:pt x="173" y="635"/>
                </a:cubicBezTo>
                <a:cubicBezTo>
                  <a:pt x="172" y="641"/>
                  <a:pt x="175" y="647"/>
                  <a:pt x="180" y="650"/>
                </a:cubicBezTo>
                <a:cubicBezTo>
                  <a:pt x="190" y="656"/>
                  <a:pt x="190" y="656"/>
                  <a:pt x="190" y="656"/>
                </a:cubicBezTo>
                <a:cubicBezTo>
                  <a:pt x="191" y="656"/>
                  <a:pt x="192" y="657"/>
                  <a:pt x="193" y="657"/>
                </a:cubicBezTo>
                <a:cubicBezTo>
                  <a:pt x="202" y="661"/>
                  <a:pt x="202" y="661"/>
                  <a:pt x="202" y="661"/>
                </a:cubicBezTo>
                <a:cubicBezTo>
                  <a:pt x="207" y="663"/>
                  <a:pt x="213" y="663"/>
                  <a:pt x="218" y="659"/>
                </a:cubicBezTo>
                <a:cubicBezTo>
                  <a:pt x="245" y="638"/>
                  <a:pt x="245" y="638"/>
                  <a:pt x="245" y="638"/>
                </a:cubicBezTo>
                <a:cubicBezTo>
                  <a:pt x="246" y="639"/>
                  <a:pt x="247" y="639"/>
                  <a:pt x="248" y="639"/>
                </a:cubicBezTo>
                <a:cubicBezTo>
                  <a:pt x="254" y="640"/>
                  <a:pt x="254" y="640"/>
                  <a:pt x="254" y="640"/>
                </a:cubicBezTo>
                <a:cubicBezTo>
                  <a:pt x="261" y="642"/>
                  <a:pt x="261" y="642"/>
                  <a:pt x="261" y="642"/>
                </a:cubicBezTo>
                <a:cubicBezTo>
                  <a:pt x="273" y="677"/>
                  <a:pt x="273" y="677"/>
                  <a:pt x="273" y="677"/>
                </a:cubicBezTo>
                <a:cubicBezTo>
                  <a:pt x="275" y="683"/>
                  <a:pt x="280" y="687"/>
                  <a:pt x="286" y="688"/>
                </a:cubicBezTo>
                <a:cubicBezTo>
                  <a:pt x="307" y="691"/>
                  <a:pt x="307" y="691"/>
                  <a:pt x="307" y="691"/>
                </a:cubicBezTo>
                <a:cubicBezTo>
                  <a:pt x="312" y="691"/>
                  <a:pt x="318" y="689"/>
                  <a:pt x="322" y="684"/>
                </a:cubicBezTo>
                <a:cubicBezTo>
                  <a:pt x="343" y="655"/>
                  <a:pt x="343" y="655"/>
                  <a:pt x="343" y="655"/>
                </a:cubicBezTo>
                <a:cubicBezTo>
                  <a:pt x="358" y="655"/>
                  <a:pt x="358" y="655"/>
                  <a:pt x="358" y="655"/>
                </a:cubicBezTo>
                <a:cubicBezTo>
                  <a:pt x="379" y="684"/>
                  <a:pt x="379" y="684"/>
                  <a:pt x="379" y="684"/>
                </a:cubicBezTo>
                <a:cubicBezTo>
                  <a:pt x="382" y="688"/>
                  <a:pt x="387" y="691"/>
                  <a:pt x="392" y="691"/>
                </a:cubicBezTo>
                <a:cubicBezTo>
                  <a:pt x="393" y="691"/>
                  <a:pt x="394" y="691"/>
                  <a:pt x="394" y="691"/>
                </a:cubicBezTo>
                <a:cubicBezTo>
                  <a:pt x="415" y="688"/>
                  <a:pt x="415" y="688"/>
                  <a:pt x="415" y="688"/>
                </a:cubicBezTo>
                <a:cubicBezTo>
                  <a:pt x="421" y="687"/>
                  <a:pt x="426" y="683"/>
                  <a:pt x="428" y="677"/>
                </a:cubicBezTo>
                <a:cubicBezTo>
                  <a:pt x="440" y="642"/>
                  <a:pt x="440" y="642"/>
                  <a:pt x="440" y="642"/>
                </a:cubicBezTo>
                <a:cubicBezTo>
                  <a:pt x="448" y="640"/>
                  <a:pt x="448" y="640"/>
                  <a:pt x="448" y="640"/>
                </a:cubicBezTo>
                <a:cubicBezTo>
                  <a:pt x="448" y="640"/>
                  <a:pt x="448" y="639"/>
                  <a:pt x="448" y="639"/>
                </a:cubicBezTo>
                <a:cubicBezTo>
                  <a:pt x="454" y="637"/>
                  <a:pt x="454" y="637"/>
                  <a:pt x="454" y="637"/>
                </a:cubicBezTo>
                <a:cubicBezTo>
                  <a:pt x="483" y="659"/>
                  <a:pt x="483" y="659"/>
                  <a:pt x="483" y="659"/>
                </a:cubicBezTo>
                <a:cubicBezTo>
                  <a:pt x="488" y="663"/>
                  <a:pt x="494" y="663"/>
                  <a:pt x="499" y="661"/>
                </a:cubicBezTo>
                <a:cubicBezTo>
                  <a:pt x="508" y="657"/>
                  <a:pt x="508" y="657"/>
                  <a:pt x="508" y="657"/>
                </a:cubicBezTo>
                <a:cubicBezTo>
                  <a:pt x="509" y="657"/>
                  <a:pt x="510" y="656"/>
                  <a:pt x="510" y="656"/>
                </a:cubicBezTo>
                <a:cubicBezTo>
                  <a:pt x="521" y="650"/>
                  <a:pt x="521" y="650"/>
                  <a:pt x="521" y="650"/>
                </a:cubicBezTo>
                <a:cubicBezTo>
                  <a:pt x="525" y="647"/>
                  <a:pt x="528" y="641"/>
                  <a:pt x="528" y="636"/>
                </a:cubicBezTo>
                <a:cubicBezTo>
                  <a:pt x="528" y="600"/>
                  <a:pt x="528" y="600"/>
                  <a:pt x="528" y="600"/>
                </a:cubicBezTo>
                <a:cubicBezTo>
                  <a:pt x="533" y="596"/>
                  <a:pt x="533" y="596"/>
                  <a:pt x="533" y="596"/>
                </a:cubicBezTo>
                <a:cubicBezTo>
                  <a:pt x="539" y="592"/>
                  <a:pt x="539" y="592"/>
                  <a:pt x="539" y="592"/>
                </a:cubicBezTo>
                <a:cubicBezTo>
                  <a:pt x="574" y="603"/>
                  <a:pt x="574" y="603"/>
                  <a:pt x="574" y="603"/>
                </a:cubicBezTo>
                <a:cubicBezTo>
                  <a:pt x="580" y="605"/>
                  <a:pt x="586" y="604"/>
                  <a:pt x="591" y="600"/>
                </a:cubicBezTo>
                <a:cubicBezTo>
                  <a:pt x="606" y="584"/>
                  <a:pt x="606" y="584"/>
                  <a:pt x="606" y="584"/>
                </a:cubicBezTo>
                <a:cubicBezTo>
                  <a:pt x="610" y="580"/>
                  <a:pt x="612" y="573"/>
                  <a:pt x="610" y="568"/>
                </a:cubicBezTo>
                <a:cubicBezTo>
                  <a:pt x="599" y="533"/>
                  <a:pt x="599" y="533"/>
                  <a:pt x="599" y="533"/>
                </a:cubicBezTo>
                <a:cubicBezTo>
                  <a:pt x="602" y="528"/>
                  <a:pt x="602" y="528"/>
                  <a:pt x="602" y="528"/>
                </a:cubicBezTo>
                <a:cubicBezTo>
                  <a:pt x="603" y="528"/>
                  <a:pt x="603" y="528"/>
                  <a:pt x="603" y="527"/>
                </a:cubicBezTo>
                <a:cubicBezTo>
                  <a:pt x="607" y="521"/>
                  <a:pt x="607" y="521"/>
                  <a:pt x="607" y="521"/>
                </a:cubicBezTo>
                <a:cubicBezTo>
                  <a:pt x="643" y="522"/>
                  <a:pt x="643" y="522"/>
                  <a:pt x="643" y="522"/>
                </a:cubicBezTo>
                <a:cubicBezTo>
                  <a:pt x="649" y="522"/>
                  <a:pt x="655" y="519"/>
                  <a:pt x="658" y="514"/>
                </a:cubicBezTo>
                <a:cubicBezTo>
                  <a:pt x="668" y="496"/>
                  <a:pt x="668" y="496"/>
                  <a:pt x="668" y="496"/>
                </a:cubicBezTo>
                <a:cubicBezTo>
                  <a:pt x="671" y="490"/>
                  <a:pt x="671" y="483"/>
                  <a:pt x="667" y="478"/>
                </a:cubicBezTo>
                <a:cubicBezTo>
                  <a:pt x="645" y="449"/>
                  <a:pt x="645" y="449"/>
                  <a:pt x="645" y="449"/>
                </a:cubicBezTo>
                <a:cubicBezTo>
                  <a:pt x="647" y="443"/>
                  <a:pt x="647" y="443"/>
                  <a:pt x="647" y="443"/>
                </a:cubicBezTo>
                <a:cubicBezTo>
                  <a:pt x="647" y="443"/>
                  <a:pt x="648" y="442"/>
                  <a:pt x="648" y="441"/>
                </a:cubicBezTo>
                <a:cubicBezTo>
                  <a:pt x="649" y="435"/>
                  <a:pt x="649" y="435"/>
                  <a:pt x="649" y="435"/>
                </a:cubicBezTo>
                <a:cubicBezTo>
                  <a:pt x="685" y="423"/>
                  <a:pt x="685" y="423"/>
                  <a:pt x="685" y="423"/>
                </a:cubicBezTo>
                <a:cubicBezTo>
                  <a:pt x="691" y="421"/>
                  <a:pt x="695" y="416"/>
                  <a:pt x="696" y="410"/>
                </a:cubicBezTo>
                <a:cubicBezTo>
                  <a:pt x="698" y="389"/>
                  <a:pt x="698" y="389"/>
                  <a:pt x="698" y="389"/>
                </a:cubicBezTo>
                <a:cubicBezTo>
                  <a:pt x="699" y="383"/>
                  <a:pt x="697" y="377"/>
                  <a:pt x="692" y="37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CH" sz="1600" dirty="0"/>
          </a:p>
        </p:txBody>
      </p:sp>
      <p:sp>
        <p:nvSpPr>
          <p:cNvPr id="84" name="Oval 54"/>
          <p:cNvSpPr>
            <a:spLocks noChangeAspect="1" noChangeArrowheads="1"/>
          </p:cNvSpPr>
          <p:nvPr>
            <p:custDataLst>
              <p:tags r:id="rId13"/>
            </p:custDataLst>
          </p:nvPr>
        </p:nvSpPr>
        <p:spPr bwMode="gray">
          <a:xfrm>
            <a:off x="7482296" y="3246359"/>
            <a:ext cx="1080000" cy="1081402"/>
          </a:xfrm>
          <a:prstGeom prst="ellipse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/>
          <a:lstStyle/>
          <a:p>
            <a:pPr algn="ctr"/>
            <a:r>
              <a:rPr lang="fr-CH" sz="1600" b="1" dirty="0">
                <a:solidFill>
                  <a:schemeClr val="accent1"/>
                </a:solidFill>
              </a:rPr>
              <a:t>titre</a:t>
            </a:r>
          </a:p>
          <a:p>
            <a:pPr algn="ctr"/>
            <a:endParaRPr lang="fr-CH" sz="1600" b="1" dirty="0">
              <a:solidFill>
                <a:schemeClr val="accent1"/>
              </a:solidFill>
            </a:endParaRPr>
          </a:p>
        </p:txBody>
      </p:sp>
      <p:sp>
        <p:nvSpPr>
          <p:cNvPr id="92" name="Freeform 5"/>
          <p:cNvSpPr>
            <a:spLocks/>
          </p:cNvSpPr>
          <p:nvPr>
            <p:custDataLst>
              <p:tags r:id="rId14"/>
            </p:custDataLst>
          </p:nvPr>
        </p:nvSpPr>
        <p:spPr bwMode="gray">
          <a:xfrm>
            <a:off x="4295800" y="4617296"/>
            <a:ext cx="1476000" cy="1476000"/>
          </a:xfrm>
          <a:custGeom>
            <a:avLst/>
            <a:gdLst>
              <a:gd name="T0" fmla="*/ 662 w 699"/>
              <a:gd name="T1" fmla="*/ 347 h 691"/>
              <a:gd name="T2" fmla="*/ 691 w 699"/>
              <a:gd name="T3" fmla="*/ 320 h 691"/>
              <a:gd name="T4" fmla="*/ 684 w 699"/>
              <a:gd name="T5" fmla="*/ 269 h 691"/>
              <a:gd name="T6" fmla="*/ 645 w 699"/>
              <a:gd name="T7" fmla="*/ 243 h 691"/>
              <a:gd name="T8" fmla="*/ 663 w 699"/>
              <a:gd name="T9" fmla="*/ 188 h 691"/>
              <a:gd name="T10" fmla="*/ 644 w 699"/>
              <a:gd name="T11" fmla="*/ 171 h 691"/>
              <a:gd name="T12" fmla="*/ 602 w 699"/>
              <a:gd name="T13" fmla="*/ 165 h 691"/>
              <a:gd name="T14" fmla="*/ 606 w 699"/>
              <a:gd name="T15" fmla="*/ 109 h 691"/>
              <a:gd name="T16" fmla="*/ 540 w 699"/>
              <a:gd name="T17" fmla="*/ 101 h 691"/>
              <a:gd name="T18" fmla="*/ 528 w 699"/>
              <a:gd name="T19" fmla="*/ 93 h 691"/>
              <a:gd name="T20" fmla="*/ 509 w 699"/>
              <a:gd name="T21" fmla="*/ 37 h 691"/>
              <a:gd name="T22" fmla="*/ 484 w 699"/>
              <a:gd name="T23" fmla="*/ 34 h 691"/>
              <a:gd name="T24" fmla="*/ 447 w 699"/>
              <a:gd name="T25" fmla="*/ 52 h 691"/>
              <a:gd name="T26" fmla="*/ 417 w 699"/>
              <a:gd name="T27" fmla="*/ 6 h 691"/>
              <a:gd name="T28" fmla="*/ 394 w 699"/>
              <a:gd name="T29" fmla="*/ 1 h 691"/>
              <a:gd name="T30" fmla="*/ 352 w 699"/>
              <a:gd name="T31" fmla="*/ 37 h 691"/>
              <a:gd name="T32" fmla="*/ 322 w 699"/>
              <a:gd name="T33" fmla="*/ 8 h 691"/>
              <a:gd name="T34" fmla="*/ 273 w 699"/>
              <a:gd name="T35" fmla="*/ 16 h 691"/>
              <a:gd name="T36" fmla="*/ 253 w 699"/>
              <a:gd name="T37" fmla="*/ 52 h 691"/>
              <a:gd name="T38" fmla="*/ 217 w 699"/>
              <a:gd name="T39" fmla="*/ 34 h 691"/>
              <a:gd name="T40" fmla="*/ 192 w 699"/>
              <a:gd name="T41" fmla="*/ 37 h 691"/>
              <a:gd name="T42" fmla="*/ 174 w 699"/>
              <a:gd name="T43" fmla="*/ 93 h 691"/>
              <a:gd name="T44" fmla="*/ 110 w 699"/>
              <a:gd name="T45" fmla="*/ 94 h 691"/>
              <a:gd name="T46" fmla="*/ 102 w 699"/>
              <a:gd name="T47" fmla="*/ 159 h 691"/>
              <a:gd name="T48" fmla="*/ 94 w 699"/>
              <a:gd name="T49" fmla="*/ 171 h 691"/>
              <a:gd name="T50" fmla="*/ 39 w 699"/>
              <a:gd name="T51" fmla="*/ 186 h 691"/>
              <a:gd name="T52" fmla="*/ 34 w 699"/>
              <a:gd name="T53" fmla="*/ 215 h 691"/>
              <a:gd name="T54" fmla="*/ 53 w 699"/>
              <a:gd name="T55" fmla="*/ 252 h 691"/>
              <a:gd name="T56" fmla="*/ 5 w 699"/>
              <a:gd name="T57" fmla="*/ 280 h 691"/>
              <a:gd name="T58" fmla="*/ 1 w 699"/>
              <a:gd name="T59" fmla="*/ 304 h 691"/>
              <a:gd name="T60" fmla="*/ 39 w 699"/>
              <a:gd name="T61" fmla="*/ 345 h 691"/>
              <a:gd name="T62" fmla="*/ 8 w 699"/>
              <a:gd name="T63" fmla="*/ 374 h 691"/>
              <a:gd name="T64" fmla="*/ 16 w 699"/>
              <a:gd name="T65" fmla="*/ 423 h 691"/>
              <a:gd name="T66" fmla="*/ 54 w 699"/>
              <a:gd name="T67" fmla="*/ 443 h 691"/>
              <a:gd name="T68" fmla="*/ 33 w 699"/>
              <a:gd name="T69" fmla="*/ 496 h 691"/>
              <a:gd name="T70" fmla="*/ 94 w 699"/>
              <a:gd name="T71" fmla="*/ 521 h 691"/>
              <a:gd name="T72" fmla="*/ 102 w 699"/>
              <a:gd name="T73" fmla="*/ 533 h 691"/>
              <a:gd name="T74" fmla="*/ 110 w 699"/>
              <a:gd name="T75" fmla="*/ 600 h 691"/>
              <a:gd name="T76" fmla="*/ 167 w 699"/>
              <a:gd name="T77" fmla="*/ 596 h 691"/>
              <a:gd name="T78" fmla="*/ 173 w 699"/>
              <a:gd name="T79" fmla="*/ 635 h 691"/>
              <a:gd name="T80" fmla="*/ 193 w 699"/>
              <a:gd name="T81" fmla="*/ 657 h 691"/>
              <a:gd name="T82" fmla="*/ 245 w 699"/>
              <a:gd name="T83" fmla="*/ 638 h 691"/>
              <a:gd name="T84" fmla="*/ 261 w 699"/>
              <a:gd name="T85" fmla="*/ 642 h 691"/>
              <a:gd name="T86" fmla="*/ 307 w 699"/>
              <a:gd name="T87" fmla="*/ 691 h 691"/>
              <a:gd name="T88" fmla="*/ 358 w 699"/>
              <a:gd name="T89" fmla="*/ 655 h 691"/>
              <a:gd name="T90" fmla="*/ 394 w 699"/>
              <a:gd name="T91" fmla="*/ 691 h 691"/>
              <a:gd name="T92" fmla="*/ 440 w 699"/>
              <a:gd name="T93" fmla="*/ 642 h 691"/>
              <a:gd name="T94" fmla="*/ 454 w 699"/>
              <a:gd name="T95" fmla="*/ 637 h 691"/>
              <a:gd name="T96" fmla="*/ 508 w 699"/>
              <a:gd name="T97" fmla="*/ 657 h 691"/>
              <a:gd name="T98" fmla="*/ 528 w 699"/>
              <a:gd name="T99" fmla="*/ 636 h 691"/>
              <a:gd name="T100" fmla="*/ 539 w 699"/>
              <a:gd name="T101" fmla="*/ 592 h 691"/>
              <a:gd name="T102" fmla="*/ 606 w 699"/>
              <a:gd name="T103" fmla="*/ 584 h 691"/>
              <a:gd name="T104" fmla="*/ 602 w 699"/>
              <a:gd name="T105" fmla="*/ 528 h 691"/>
              <a:gd name="T106" fmla="*/ 643 w 699"/>
              <a:gd name="T107" fmla="*/ 522 h 691"/>
              <a:gd name="T108" fmla="*/ 667 w 699"/>
              <a:gd name="T109" fmla="*/ 478 h 691"/>
              <a:gd name="T110" fmla="*/ 648 w 699"/>
              <a:gd name="T111" fmla="*/ 441 h 691"/>
              <a:gd name="T112" fmla="*/ 696 w 699"/>
              <a:gd name="T113" fmla="*/ 410 h 6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699" h="691">
                <a:moveTo>
                  <a:pt x="692" y="374"/>
                </a:moveTo>
                <a:cubicBezTo>
                  <a:pt x="662" y="354"/>
                  <a:pt x="662" y="354"/>
                  <a:pt x="662" y="354"/>
                </a:cubicBezTo>
                <a:cubicBezTo>
                  <a:pt x="662" y="347"/>
                  <a:pt x="662" y="347"/>
                  <a:pt x="662" y="347"/>
                </a:cubicBezTo>
                <a:cubicBezTo>
                  <a:pt x="662" y="346"/>
                  <a:pt x="662" y="346"/>
                  <a:pt x="662" y="345"/>
                </a:cubicBezTo>
                <a:cubicBezTo>
                  <a:pt x="662" y="339"/>
                  <a:pt x="662" y="339"/>
                  <a:pt x="662" y="339"/>
                </a:cubicBezTo>
                <a:cubicBezTo>
                  <a:pt x="691" y="320"/>
                  <a:pt x="691" y="320"/>
                  <a:pt x="691" y="320"/>
                </a:cubicBezTo>
                <a:cubicBezTo>
                  <a:pt x="696" y="316"/>
                  <a:pt x="699" y="310"/>
                  <a:pt x="698" y="304"/>
                </a:cubicBezTo>
                <a:cubicBezTo>
                  <a:pt x="696" y="282"/>
                  <a:pt x="696" y="282"/>
                  <a:pt x="696" y="282"/>
                </a:cubicBezTo>
                <a:cubicBezTo>
                  <a:pt x="695" y="276"/>
                  <a:pt x="691" y="271"/>
                  <a:pt x="684" y="269"/>
                </a:cubicBezTo>
                <a:cubicBezTo>
                  <a:pt x="650" y="259"/>
                  <a:pt x="650" y="259"/>
                  <a:pt x="650" y="259"/>
                </a:cubicBezTo>
                <a:cubicBezTo>
                  <a:pt x="650" y="259"/>
                  <a:pt x="650" y="259"/>
                  <a:pt x="650" y="258"/>
                </a:cubicBezTo>
                <a:cubicBezTo>
                  <a:pt x="645" y="243"/>
                  <a:pt x="645" y="243"/>
                  <a:pt x="645" y="243"/>
                </a:cubicBezTo>
                <a:cubicBezTo>
                  <a:pt x="667" y="215"/>
                  <a:pt x="667" y="215"/>
                  <a:pt x="667" y="215"/>
                </a:cubicBezTo>
                <a:cubicBezTo>
                  <a:pt x="671" y="211"/>
                  <a:pt x="671" y="204"/>
                  <a:pt x="668" y="198"/>
                </a:cubicBezTo>
                <a:cubicBezTo>
                  <a:pt x="663" y="188"/>
                  <a:pt x="663" y="188"/>
                  <a:pt x="663" y="188"/>
                </a:cubicBezTo>
                <a:cubicBezTo>
                  <a:pt x="663" y="187"/>
                  <a:pt x="663" y="187"/>
                  <a:pt x="662" y="186"/>
                </a:cubicBezTo>
                <a:cubicBezTo>
                  <a:pt x="657" y="179"/>
                  <a:pt x="657" y="179"/>
                  <a:pt x="657" y="179"/>
                </a:cubicBezTo>
                <a:cubicBezTo>
                  <a:pt x="654" y="174"/>
                  <a:pt x="649" y="171"/>
                  <a:pt x="644" y="171"/>
                </a:cubicBezTo>
                <a:cubicBezTo>
                  <a:pt x="607" y="171"/>
                  <a:pt x="607" y="171"/>
                  <a:pt x="607" y="171"/>
                </a:cubicBezTo>
                <a:cubicBezTo>
                  <a:pt x="603" y="165"/>
                  <a:pt x="603" y="165"/>
                  <a:pt x="603" y="165"/>
                </a:cubicBezTo>
                <a:cubicBezTo>
                  <a:pt x="603" y="165"/>
                  <a:pt x="602" y="165"/>
                  <a:pt x="602" y="165"/>
                </a:cubicBezTo>
                <a:cubicBezTo>
                  <a:pt x="599" y="160"/>
                  <a:pt x="599" y="160"/>
                  <a:pt x="599" y="160"/>
                </a:cubicBezTo>
                <a:cubicBezTo>
                  <a:pt x="610" y="126"/>
                  <a:pt x="610" y="126"/>
                  <a:pt x="610" y="126"/>
                </a:cubicBezTo>
                <a:cubicBezTo>
                  <a:pt x="612" y="120"/>
                  <a:pt x="610" y="113"/>
                  <a:pt x="606" y="109"/>
                </a:cubicBezTo>
                <a:cubicBezTo>
                  <a:pt x="591" y="94"/>
                  <a:pt x="591" y="94"/>
                  <a:pt x="591" y="94"/>
                </a:cubicBezTo>
                <a:cubicBezTo>
                  <a:pt x="586" y="89"/>
                  <a:pt x="580" y="88"/>
                  <a:pt x="574" y="90"/>
                </a:cubicBezTo>
                <a:cubicBezTo>
                  <a:pt x="540" y="101"/>
                  <a:pt x="540" y="101"/>
                  <a:pt x="540" y="101"/>
                </a:cubicBezTo>
                <a:cubicBezTo>
                  <a:pt x="540" y="101"/>
                  <a:pt x="539" y="101"/>
                  <a:pt x="539" y="100"/>
                </a:cubicBezTo>
                <a:cubicBezTo>
                  <a:pt x="533" y="97"/>
                  <a:pt x="533" y="97"/>
                  <a:pt x="533" y="97"/>
                </a:cubicBezTo>
                <a:cubicBezTo>
                  <a:pt x="528" y="93"/>
                  <a:pt x="528" y="93"/>
                  <a:pt x="528" y="93"/>
                </a:cubicBezTo>
                <a:cubicBezTo>
                  <a:pt x="528" y="56"/>
                  <a:pt x="528" y="56"/>
                  <a:pt x="528" y="56"/>
                </a:cubicBezTo>
                <a:cubicBezTo>
                  <a:pt x="528" y="50"/>
                  <a:pt x="525" y="44"/>
                  <a:pt x="519" y="42"/>
                </a:cubicBezTo>
                <a:cubicBezTo>
                  <a:pt x="509" y="37"/>
                  <a:pt x="509" y="37"/>
                  <a:pt x="509" y="37"/>
                </a:cubicBezTo>
                <a:cubicBezTo>
                  <a:pt x="509" y="36"/>
                  <a:pt x="509" y="36"/>
                  <a:pt x="508" y="36"/>
                </a:cubicBezTo>
                <a:cubicBezTo>
                  <a:pt x="499" y="32"/>
                  <a:pt x="499" y="32"/>
                  <a:pt x="499" y="32"/>
                </a:cubicBezTo>
                <a:cubicBezTo>
                  <a:pt x="494" y="30"/>
                  <a:pt x="488" y="31"/>
                  <a:pt x="484" y="34"/>
                </a:cubicBezTo>
                <a:cubicBezTo>
                  <a:pt x="454" y="55"/>
                  <a:pt x="454" y="55"/>
                  <a:pt x="454" y="55"/>
                </a:cubicBezTo>
                <a:cubicBezTo>
                  <a:pt x="449" y="53"/>
                  <a:pt x="449" y="53"/>
                  <a:pt x="449" y="53"/>
                </a:cubicBezTo>
                <a:cubicBezTo>
                  <a:pt x="448" y="52"/>
                  <a:pt x="447" y="52"/>
                  <a:pt x="447" y="52"/>
                </a:cubicBezTo>
                <a:cubicBezTo>
                  <a:pt x="440" y="50"/>
                  <a:pt x="440" y="50"/>
                  <a:pt x="440" y="50"/>
                </a:cubicBezTo>
                <a:cubicBezTo>
                  <a:pt x="428" y="16"/>
                  <a:pt x="428" y="16"/>
                  <a:pt x="428" y="16"/>
                </a:cubicBezTo>
                <a:cubicBezTo>
                  <a:pt x="427" y="11"/>
                  <a:pt x="422" y="7"/>
                  <a:pt x="417" y="6"/>
                </a:cubicBezTo>
                <a:cubicBezTo>
                  <a:pt x="407" y="3"/>
                  <a:pt x="407" y="3"/>
                  <a:pt x="407" y="3"/>
                </a:cubicBezTo>
                <a:cubicBezTo>
                  <a:pt x="406" y="3"/>
                  <a:pt x="405" y="3"/>
                  <a:pt x="405" y="3"/>
                </a:cubicBezTo>
                <a:cubicBezTo>
                  <a:pt x="394" y="1"/>
                  <a:pt x="394" y="1"/>
                  <a:pt x="394" y="1"/>
                </a:cubicBezTo>
                <a:cubicBezTo>
                  <a:pt x="388" y="1"/>
                  <a:pt x="383" y="3"/>
                  <a:pt x="379" y="8"/>
                </a:cubicBezTo>
                <a:cubicBezTo>
                  <a:pt x="359" y="38"/>
                  <a:pt x="359" y="38"/>
                  <a:pt x="359" y="38"/>
                </a:cubicBezTo>
                <a:cubicBezTo>
                  <a:pt x="352" y="37"/>
                  <a:pt x="352" y="37"/>
                  <a:pt x="352" y="37"/>
                </a:cubicBezTo>
                <a:cubicBezTo>
                  <a:pt x="352" y="37"/>
                  <a:pt x="351" y="37"/>
                  <a:pt x="350" y="37"/>
                </a:cubicBezTo>
                <a:cubicBezTo>
                  <a:pt x="342" y="38"/>
                  <a:pt x="342" y="38"/>
                  <a:pt x="342" y="38"/>
                </a:cubicBezTo>
                <a:cubicBezTo>
                  <a:pt x="322" y="8"/>
                  <a:pt x="322" y="8"/>
                  <a:pt x="322" y="8"/>
                </a:cubicBezTo>
                <a:cubicBezTo>
                  <a:pt x="318" y="3"/>
                  <a:pt x="312" y="0"/>
                  <a:pt x="306" y="2"/>
                </a:cubicBezTo>
                <a:cubicBezTo>
                  <a:pt x="285" y="5"/>
                  <a:pt x="285" y="5"/>
                  <a:pt x="285" y="5"/>
                </a:cubicBezTo>
                <a:cubicBezTo>
                  <a:pt x="279" y="7"/>
                  <a:pt x="275" y="11"/>
                  <a:pt x="273" y="16"/>
                </a:cubicBezTo>
                <a:cubicBezTo>
                  <a:pt x="262" y="50"/>
                  <a:pt x="262" y="50"/>
                  <a:pt x="262" y="50"/>
                </a:cubicBezTo>
                <a:cubicBezTo>
                  <a:pt x="261" y="50"/>
                  <a:pt x="261" y="50"/>
                  <a:pt x="261" y="50"/>
                </a:cubicBezTo>
                <a:cubicBezTo>
                  <a:pt x="253" y="52"/>
                  <a:pt x="253" y="52"/>
                  <a:pt x="253" y="52"/>
                </a:cubicBezTo>
                <a:cubicBezTo>
                  <a:pt x="253" y="52"/>
                  <a:pt x="253" y="53"/>
                  <a:pt x="253" y="53"/>
                </a:cubicBezTo>
                <a:cubicBezTo>
                  <a:pt x="247" y="55"/>
                  <a:pt x="247" y="55"/>
                  <a:pt x="247" y="55"/>
                </a:cubicBezTo>
                <a:cubicBezTo>
                  <a:pt x="217" y="34"/>
                  <a:pt x="217" y="34"/>
                  <a:pt x="217" y="34"/>
                </a:cubicBezTo>
                <a:cubicBezTo>
                  <a:pt x="213" y="31"/>
                  <a:pt x="207" y="30"/>
                  <a:pt x="202" y="32"/>
                </a:cubicBezTo>
                <a:cubicBezTo>
                  <a:pt x="193" y="36"/>
                  <a:pt x="193" y="36"/>
                  <a:pt x="193" y="36"/>
                </a:cubicBezTo>
                <a:cubicBezTo>
                  <a:pt x="192" y="36"/>
                  <a:pt x="192" y="36"/>
                  <a:pt x="192" y="37"/>
                </a:cubicBezTo>
                <a:cubicBezTo>
                  <a:pt x="181" y="42"/>
                  <a:pt x="181" y="42"/>
                  <a:pt x="181" y="42"/>
                </a:cubicBezTo>
                <a:cubicBezTo>
                  <a:pt x="176" y="45"/>
                  <a:pt x="172" y="50"/>
                  <a:pt x="173" y="57"/>
                </a:cubicBezTo>
                <a:cubicBezTo>
                  <a:pt x="174" y="93"/>
                  <a:pt x="174" y="93"/>
                  <a:pt x="174" y="93"/>
                </a:cubicBezTo>
                <a:cubicBezTo>
                  <a:pt x="162" y="101"/>
                  <a:pt x="162" y="101"/>
                  <a:pt x="162" y="101"/>
                </a:cubicBezTo>
                <a:cubicBezTo>
                  <a:pt x="127" y="90"/>
                  <a:pt x="127" y="90"/>
                  <a:pt x="127" y="90"/>
                </a:cubicBezTo>
                <a:cubicBezTo>
                  <a:pt x="121" y="88"/>
                  <a:pt x="115" y="89"/>
                  <a:pt x="110" y="94"/>
                </a:cubicBezTo>
                <a:cubicBezTo>
                  <a:pt x="95" y="109"/>
                  <a:pt x="95" y="109"/>
                  <a:pt x="95" y="109"/>
                </a:cubicBezTo>
                <a:cubicBezTo>
                  <a:pt x="90" y="113"/>
                  <a:pt x="89" y="120"/>
                  <a:pt x="91" y="126"/>
                </a:cubicBezTo>
                <a:cubicBezTo>
                  <a:pt x="102" y="159"/>
                  <a:pt x="102" y="159"/>
                  <a:pt x="102" y="159"/>
                </a:cubicBezTo>
                <a:cubicBezTo>
                  <a:pt x="102" y="159"/>
                  <a:pt x="102" y="160"/>
                  <a:pt x="101" y="160"/>
                </a:cubicBezTo>
                <a:cubicBezTo>
                  <a:pt x="98" y="166"/>
                  <a:pt x="98" y="166"/>
                  <a:pt x="98" y="166"/>
                </a:cubicBezTo>
                <a:cubicBezTo>
                  <a:pt x="94" y="171"/>
                  <a:pt x="94" y="171"/>
                  <a:pt x="94" y="171"/>
                </a:cubicBezTo>
                <a:cubicBezTo>
                  <a:pt x="57" y="171"/>
                  <a:pt x="57" y="171"/>
                  <a:pt x="57" y="171"/>
                </a:cubicBezTo>
                <a:cubicBezTo>
                  <a:pt x="52" y="171"/>
                  <a:pt x="47" y="174"/>
                  <a:pt x="44" y="179"/>
                </a:cubicBezTo>
                <a:cubicBezTo>
                  <a:pt x="39" y="186"/>
                  <a:pt x="39" y="186"/>
                  <a:pt x="39" y="186"/>
                </a:cubicBezTo>
                <a:cubicBezTo>
                  <a:pt x="38" y="187"/>
                  <a:pt x="38" y="187"/>
                  <a:pt x="38" y="188"/>
                </a:cubicBezTo>
                <a:cubicBezTo>
                  <a:pt x="32" y="198"/>
                  <a:pt x="32" y="198"/>
                  <a:pt x="32" y="198"/>
                </a:cubicBezTo>
                <a:cubicBezTo>
                  <a:pt x="30" y="204"/>
                  <a:pt x="30" y="211"/>
                  <a:pt x="34" y="215"/>
                </a:cubicBezTo>
                <a:cubicBezTo>
                  <a:pt x="56" y="243"/>
                  <a:pt x="56" y="243"/>
                  <a:pt x="56" y="243"/>
                </a:cubicBezTo>
                <a:cubicBezTo>
                  <a:pt x="53" y="251"/>
                  <a:pt x="53" y="251"/>
                  <a:pt x="53" y="251"/>
                </a:cubicBezTo>
                <a:cubicBezTo>
                  <a:pt x="53" y="251"/>
                  <a:pt x="53" y="252"/>
                  <a:pt x="53" y="252"/>
                </a:cubicBezTo>
                <a:cubicBezTo>
                  <a:pt x="52" y="258"/>
                  <a:pt x="52" y="258"/>
                  <a:pt x="52" y="258"/>
                </a:cubicBezTo>
                <a:cubicBezTo>
                  <a:pt x="17" y="269"/>
                  <a:pt x="17" y="269"/>
                  <a:pt x="17" y="269"/>
                </a:cubicBezTo>
                <a:cubicBezTo>
                  <a:pt x="11" y="270"/>
                  <a:pt x="7" y="275"/>
                  <a:pt x="5" y="280"/>
                </a:cubicBezTo>
                <a:cubicBezTo>
                  <a:pt x="3" y="291"/>
                  <a:pt x="3" y="291"/>
                  <a:pt x="3" y="291"/>
                </a:cubicBezTo>
                <a:cubicBezTo>
                  <a:pt x="3" y="291"/>
                  <a:pt x="3" y="292"/>
                  <a:pt x="2" y="293"/>
                </a:cubicBezTo>
                <a:cubicBezTo>
                  <a:pt x="1" y="304"/>
                  <a:pt x="1" y="304"/>
                  <a:pt x="1" y="304"/>
                </a:cubicBezTo>
                <a:cubicBezTo>
                  <a:pt x="1" y="310"/>
                  <a:pt x="3" y="316"/>
                  <a:pt x="9" y="320"/>
                </a:cubicBezTo>
                <a:cubicBezTo>
                  <a:pt x="39" y="339"/>
                  <a:pt x="39" y="339"/>
                  <a:pt x="39" y="339"/>
                </a:cubicBezTo>
                <a:cubicBezTo>
                  <a:pt x="39" y="345"/>
                  <a:pt x="39" y="345"/>
                  <a:pt x="39" y="345"/>
                </a:cubicBezTo>
                <a:cubicBezTo>
                  <a:pt x="38" y="346"/>
                  <a:pt x="38" y="346"/>
                  <a:pt x="39" y="347"/>
                </a:cubicBezTo>
                <a:cubicBezTo>
                  <a:pt x="39" y="353"/>
                  <a:pt x="39" y="353"/>
                  <a:pt x="39" y="353"/>
                </a:cubicBezTo>
                <a:cubicBezTo>
                  <a:pt x="8" y="374"/>
                  <a:pt x="8" y="374"/>
                  <a:pt x="8" y="374"/>
                </a:cubicBezTo>
                <a:cubicBezTo>
                  <a:pt x="3" y="377"/>
                  <a:pt x="0" y="384"/>
                  <a:pt x="1" y="390"/>
                </a:cubicBezTo>
                <a:cubicBezTo>
                  <a:pt x="5" y="411"/>
                  <a:pt x="5" y="411"/>
                  <a:pt x="5" y="411"/>
                </a:cubicBezTo>
                <a:cubicBezTo>
                  <a:pt x="6" y="417"/>
                  <a:pt x="10" y="421"/>
                  <a:pt x="16" y="423"/>
                </a:cubicBezTo>
                <a:cubicBezTo>
                  <a:pt x="52" y="435"/>
                  <a:pt x="52" y="435"/>
                  <a:pt x="52" y="435"/>
                </a:cubicBezTo>
                <a:cubicBezTo>
                  <a:pt x="53" y="440"/>
                  <a:pt x="53" y="440"/>
                  <a:pt x="53" y="440"/>
                </a:cubicBezTo>
                <a:cubicBezTo>
                  <a:pt x="53" y="441"/>
                  <a:pt x="53" y="442"/>
                  <a:pt x="54" y="443"/>
                </a:cubicBezTo>
                <a:cubicBezTo>
                  <a:pt x="56" y="449"/>
                  <a:pt x="56" y="449"/>
                  <a:pt x="56" y="449"/>
                </a:cubicBezTo>
                <a:cubicBezTo>
                  <a:pt x="34" y="478"/>
                  <a:pt x="34" y="478"/>
                  <a:pt x="34" y="478"/>
                </a:cubicBezTo>
                <a:cubicBezTo>
                  <a:pt x="30" y="483"/>
                  <a:pt x="30" y="490"/>
                  <a:pt x="33" y="496"/>
                </a:cubicBezTo>
                <a:cubicBezTo>
                  <a:pt x="43" y="514"/>
                  <a:pt x="43" y="514"/>
                  <a:pt x="43" y="514"/>
                </a:cubicBezTo>
                <a:cubicBezTo>
                  <a:pt x="46" y="519"/>
                  <a:pt x="52" y="522"/>
                  <a:pt x="58" y="522"/>
                </a:cubicBezTo>
                <a:cubicBezTo>
                  <a:pt x="94" y="521"/>
                  <a:pt x="94" y="521"/>
                  <a:pt x="94" y="521"/>
                </a:cubicBezTo>
                <a:cubicBezTo>
                  <a:pt x="98" y="527"/>
                  <a:pt x="98" y="527"/>
                  <a:pt x="98" y="527"/>
                </a:cubicBezTo>
                <a:cubicBezTo>
                  <a:pt x="98" y="528"/>
                  <a:pt x="98" y="528"/>
                  <a:pt x="99" y="529"/>
                </a:cubicBezTo>
                <a:cubicBezTo>
                  <a:pt x="102" y="533"/>
                  <a:pt x="102" y="533"/>
                  <a:pt x="102" y="533"/>
                </a:cubicBezTo>
                <a:cubicBezTo>
                  <a:pt x="91" y="568"/>
                  <a:pt x="91" y="568"/>
                  <a:pt x="91" y="568"/>
                </a:cubicBezTo>
                <a:cubicBezTo>
                  <a:pt x="89" y="573"/>
                  <a:pt x="90" y="580"/>
                  <a:pt x="95" y="584"/>
                </a:cubicBezTo>
                <a:cubicBezTo>
                  <a:pt x="110" y="600"/>
                  <a:pt x="110" y="600"/>
                  <a:pt x="110" y="600"/>
                </a:cubicBezTo>
                <a:cubicBezTo>
                  <a:pt x="115" y="604"/>
                  <a:pt x="121" y="605"/>
                  <a:pt x="127" y="603"/>
                </a:cubicBezTo>
                <a:cubicBezTo>
                  <a:pt x="162" y="592"/>
                  <a:pt x="162" y="592"/>
                  <a:pt x="162" y="592"/>
                </a:cubicBezTo>
                <a:cubicBezTo>
                  <a:pt x="167" y="596"/>
                  <a:pt x="167" y="596"/>
                  <a:pt x="167" y="596"/>
                </a:cubicBezTo>
                <a:cubicBezTo>
                  <a:pt x="167" y="596"/>
                  <a:pt x="168" y="596"/>
                  <a:pt x="168" y="596"/>
                </a:cubicBezTo>
                <a:cubicBezTo>
                  <a:pt x="174" y="600"/>
                  <a:pt x="174" y="600"/>
                  <a:pt x="174" y="600"/>
                </a:cubicBezTo>
                <a:cubicBezTo>
                  <a:pt x="173" y="635"/>
                  <a:pt x="173" y="635"/>
                  <a:pt x="173" y="635"/>
                </a:cubicBezTo>
                <a:cubicBezTo>
                  <a:pt x="172" y="641"/>
                  <a:pt x="175" y="647"/>
                  <a:pt x="180" y="650"/>
                </a:cubicBezTo>
                <a:cubicBezTo>
                  <a:pt x="190" y="656"/>
                  <a:pt x="190" y="656"/>
                  <a:pt x="190" y="656"/>
                </a:cubicBezTo>
                <a:cubicBezTo>
                  <a:pt x="191" y="656"/>
                  <a:pt x="192" y="657"/>
                  <a:pt x="193" y="657"/>
                </a:cubicBezTo>
                <a:cubicBezTo>
                  <a:pt x="202" y="661"/>
                  <a:pt x="202" y="661"/>
                  <a:pt x="202" y="661"/>
                </a:cubicBezTo>
                <a:cubicBezTo>
                  <a:pt x="207" y="663"/>
                  <a:pt x="213" y="663"/>
                  <a:pt x="218" y="659"/>
                </a:cubicBezTo>
                <a:cubicBezTo>
                  <a:pt x="245" y="638"/>
                  <a:pt x="245" y="638"/>
                  <a:pt x="245" y="638"/>
                </a:cubicBezTo>
                <a:cubicBezTo>
                  <a:pt x="246" y="639"/>
                  <a:pt x="247" y="639"/>
                  <a:pt x="248" y="639"/>
                </a:cubicBezTo>
                <a:cubicBezTo>
                  <a:pt x="254" y="640"/>
                  <a:pt x="254" y="640"/>
                  <a:pt x="254" y="640"/>
                </a:cubicBezTo>
                <a:cubicBezTo>
                  <a:pt x="261" y="642"/>
                  <a:pt x="261" y="642"/>
                  <a:pt x="261" y="642"/>
                </a:cubicBezTo>
                <a:cubicBezTo>
                  <a:pt x="273" y="677"/>
                  <a:pt x="273" y="677"/>
                  <a:pt x="273" y="677"/>
                </a:cubicBezTo>
                <a:cubicBezTo>
                  <a:pt x="275" y="683"/>
                  <a:pt x="280" y="687"/>
                  <a:pt x="286" y="688"/>
                </a:cubicBezTo>
                <a:cubicBezTo>
                  <a:pt x="307" y="691"/>
                  <a:pt x="307" y="691"/>
                  <a:pt x="307" y="691"/>
                </a:cubicBezTo>
                <a:cubicBezTo>
                  <a:pt x="312" y="691"/>
                  <a:pt x="318" y="689"/>
                  <a:pt x="322" y="684"/>
                </a:cubicBezTo>
                <a:cubicBezTo>
                  <a:pt x="343" y="655"/>
                  <a:pt x="343" y="655"/>
                  <a:pt x="343" y="655"/>
                </a:cubicBezTo>
                <a:cubicBezTo>
                  <a:pt x="358" y="655"/>
                  <a:pt x="358" y="655"/>
                  <a:pt x="358" y="655"/>
                </a:cubicBezTo>
                <a:cubicBezTo>
                  <a:pt x="379" y="684"/>
                  <a:pt x="379" y="684"/>
                  <a:pt x="379" y="684"/>
                </a:cubicBezTo>
                <a:cubicBezTo>
                  <a:pt x="382" y="688"/>
                  <a:pt x="387" y="691"/>
                  <a:pt x="392" y="691"/>
                </a:cubicBezTo>
                <a:cubicBezTo>
                  <a:pt x="393" y="691"/>
                  <a:pt x="394" y="691"/>
                  <a:pt x="394" y="691"/>
                </a:cubicBezTo>
                <a:cubicBezTo>
                  <a:pt x="415" y="688"/>
                  <a:pt x="415" y="688"/>
                  <a:pt x="415" y="688"/>
                </a:cubicBezTo>
                <a:cubicBezTo>
                  <a:pt x="421" y="687"/>
                  <a:pt x="426" y="683"/>
                  <a:pt x="428" y="677"/>
                </a:cubicBezTo>
                <a:cubicBezTo>
                  <a:pt x="440" y="642"/>
                  <a:pt x="440" y="642"/>
                  <a:pt x="440" y="642"/>
                </a:cubicBezTo>
                <a:cubicBezTo>
                  <a:pt x="448" y="640"/>
                  <a:pt x="448" y="640"/>
                  <a:pt x="448" y="640"/>
                </a:cubicBezTo>
                <a:cubicBezTo>
                  <a:pt x="448" y="640"/>
                  <a:pt x="448" y="639"/>
                  <a:pt x="448" y="639"/>
                </a:cubicBezTo>
                <a:cubicBezTo>
                  <a:pt x="454" y="637"/>
                  <a:pt x="454" y="637"/>
                  <a:pt x="454" y="637"/>
                </a:cubicBezTo>
                <a:cubicBezTo>
                  <a:pt x="483" y="659"/>
                  <a:pt x="483" y="659"/>
                  <a:pt x="483" y="659"/>
                </a:cubicBezTo>
                <a:cubicBezTo>
                  <a:pt x="488" y="663"/>
                  <a:pt x="494" y="663"/>
                  <a:pt x="499" y="661"/>
                </a:cubicBezTo>
                <a:cubicBezTo>
                  <a:pt x="508" y="657"/>
                  <a:pt x="508" y="657"/>
                  <a:pt x="508" y="657"/>
                </a:cubicBezTo>
                <a:cubicBezTo>
                  <a:pt x="509" y="657"/>
                  <a:pt x="510" y="656"/>
                  <a:pt x="510" y="656"/>
                </a:cubicBezTo>
                <a:cubicBezTo>
                  <a:pt x="521" y="650"/>
                  <a:pt x="521" y="650"/>
                  <a:pt x="521" y="650"/>
                </a:cubicBezTo>
                <a:cubicBezTo>
                  <a:pt x="525" y="647"/>
                  <a:pt x="528" y="641"/>
                  <a:pt x="528" y="636"/>
                </a:cubicBezTo>
                <a:cubicBezTo>
                  <a:pt x="528" y="600"/>
                  <a:pt x="528" y="600"/>
                  <a:pt x="528" y="600"/>
                </a:cubicBezTo>
                <a:cubicBezTo>
                  <a:pt x="533" y="596"/>
                  <a:pt x="533" y="596"/>
                  <a:pt x="533" y="596"/>
                </a:cubicBezTo>
                <a:cubicBezTo>
                  <a:pt x="539" y="592"/>
                  <a:pt x="539" y="592"/>
                  <a:pt x="539" y="592"/>
                </a:cubicBezTo>
                <a:cubicBezTo>
                  <a:pt x="574" y="603"/>
                  <a:pt x="574" y="603"/>
                  <a:pt x="574" y="603"/>
                </a:cubicBezTo>
                <a:cubicBezTo>
                  <a:pt x="580" y="605"/>
                  <a:pt x="586" y="604"/>
                  <a:pt x="591" y="600"/>
                </a:cubicBezTo>
                <a:cubicBezTo>
                  <a:pt x="606" y="584"/>
                  <a:pt x="606" y="584"/>
                  <a:pt x="606" y="584"/>
                </a:cubicBezTo>
                <a:cubicBezTo>
                  <a:pt x="610" y="580"/>
                  <a:pt x="612" y="573"/>
                  <a:pt x="610" y="568"/>
                </a:cubicBezTo>
                <a:cubicBezTo>
                  <a:pt x="599" y="533"/>
                  <a:pt x="599" y="533"/>
                  <a:pt x="599" y="533"/>
                </a:cubicBezTo>
                <a:cubicBezTo>
                  <a:pt x="602" y="528"/>
                  <a:pt x="602" y="528"/>
                  <a:pt x="602" y="528"/>
                </a:cubicBezTo>
                <a:cubicBezTo>
                  <a:pt x="603" y="528"/>
                  <a:pt x="603" y="528"/>
                  <a:pt x="603" y="527"/>
                </a:cubicBezTo>
                <a:cubicBezTo>
                  <a:pt x="607" y="521"/>
                  <a:pt x="607" y="521"/>
                  <a:pt x="607" y="521"/>
                </a:cubicBezTo>
                <a:cubicBezTo>
                  <a:pt x="643" y="522"/>
                  <a:pt x="643" y="522"/>
                  <a:pt x="643" y="522"/>
                </a:cubicBezTo>
                <a:cubicBezTo>
                  <a:pt x="649" y="522"/>
                  <a:pt x="655" y="519"/>
                  <a:pt x="658" y="514"/>
                </a:cubicBezTo>
                <a:cubicBezTo>
                  <a:pt x="668" y="496"/>
                  <a:pt x="668" y="496"/>
                  <a:pt x="668" y="496"/>
                </a:cubicBezTo>
                <a:cubicBezTo>
                  <a:pt x="671" y="490"/>
                  <a:pt x="671" y="483"/>
                  <a:pt x="667" y="478"/>
                </a:cubicBezTo>
                <a:cubicBezTo>
                  <a:pt x="645" y="449"/>
                  <a:pt x="645" y="449"/>
                  <a:pt x="645" y="449"/>
                </a:cubicBezTo>
                <a:cubicBezTo>
                  <a:pt x="647" y="443"/>
                  <a:pt x="647" y="443"/>
                  <a:pt x="647" y="443"/>
                </a:cubicBezTo>
                <a:cubicBezTo>
                  <a:pt x="647" y="443"/>
                  <a:pt x="648" y="442"/>
                  <a:pt x="648" y="441"/>
                </a:cubicBezTo>
                <a:cubicBezTo>
                  <a:pt x="649" y="435"/>
                  <a:pt x="649" y="435"/>
                  <a:pt x="649" y="435"/>
                </a:cubicBezTo>
                <a:cubicBezTo>
                  <a:pt x="685" y="423"/>
                  <a:pt x="685" y="423"/>
                  <a:pt x="685" y="423"/>
                </a:cubicBezTo>
                <a:cubicBezTo>
                  <a:pt x="691" y="421"/>
                  <a:pt x="695" y="416"/>
                  <a:pt x="696" y="410"/>
                </a:cubicBezTo>
                <a:cubicBezTo>
                  <a:pt x="698" y="389"/>
                  <a:pt x="698" y="389"/>
                  <a:pt x="698" y="389"/>
                </a:cubicBezTo>
                <a:cubicBezTo>
                  <a:pt x="699" y="383"/>
                  <a:pt x="697" y="377"/>
                  <a:pt x="692" y="37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CH" sz="1600" dirty="0"/>
          </a:p>
        </p:txBody>
      </p:sp>
      <p:sp>
        <p:nvSpPr>
          <p:cNvPr id="93" name="Oval 54"/>
          <p:cNvSpPr>
            <a:spLocks noChangeAspect="1" noChangeArrowheads="1"/>
          </p:cNvSpPr>
          <p:nvPr>
            <p:custDataLst>
              <p:tags r:id="rId15"/>
            </p:custDataLst>
          </p:nvPr>
        </p:nvSpPr>
        <p:spPr bwMode="gray">
          <a:xfrm>
            <a:off x="4493800" y="4814595"/>
            <a:ext cx="1080000" cy="1081402"/>
          </a:xfrm>
          <a:prstGeom prst="ellipse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/>
          <a:lstStyle/>
          <a:p>
            <a:pPr algn="ctr"/>
            <a:r>
              <a:rPr lang="fr-CH" sz="1600" b="1" dirty="0">
                <a:solidFill>
                  <a:schemeClr val="accent1"/>
                </a:solidFill>
              </a:rPr>
              <a:t>titre</a:t>
            </a:r>
          </a:p>
          <a:p>
            <a:pPr algn="ctr"/>
            <a:endParaRPr lang="fr-CH" sz="1600" b="1" dirty="0">
              <a:solidFill>
                <a:schemeClr val="accent1"/>
              </a:solidFill>
            </a:endParaRPr>
          </a:p>
        </p:txBody>
      </p:sp>
      <p:sp>
        <p:nvSpPr>
          <p:cNvPr id="95" name="Freeform 5"/>
          <p:cNvSpPr>
            <a:spLocks/>
          </p:cNvSpPr>
          <p:nvPr>
            <p:custDataLst>
              <p:tags r:id="rId16"/>
            </p:custDataLst>
          </p:nvPr>
        </p:nvSpPr>
        <p:spPr bwMode="gray">
          <a:xfrm>
            <a:off x="6420200" y="4617296"/>
            <a:ext cx="1476000" cy="1476000"/>
          </a:xfrm>
          <a:custGeom>
            <a:avLst/>
            <a:gdLst>
              <a:gd name="T0" fmla="*/ 662 w 699"/>
              <a:gd name="T1" fmla="*/ 347 h 691"/>
              <a:gd name="T2" fmla="*/ 691 w 699"/>
              <a:gd name="T3" fmla="*/ 320 h 691"/>
              <a:gd name="T4" fmla="*/ 684 w 699"/>
              <a:gd name="T5" fmla="*/ 269 h 691"/>
              <a:gd name="T6" fmla="*/ 645 w 699"/>
              <a:gd name="T7" fmla="*/ 243 h 691"/>
              <a:gd name="T8" fmla="*/ 663 w 699"/>
              <a:gd name="T9" fmla="*/ 188 h 691"/>
              <a:gd name="T10" fmla="*/ 644 w 699"/>
              <a:gd name="T11" fmla="*/ 171 h 691"/>
              <a:gd name="T12" fmla="*/ 602 w 699"/>
              <a:gd name="T13" fmla="*/ 165 h 691"/>
              <a:gd name="T14" fmla="*/ 606 w 699"/>
              <a:gd name="T15" fmla="*/ 109 h 691"/>
              <a:gd name="T16" fmla="*/ 540 w 699"/>
              <a:gd name="T17" fmla="*/ 101 h 691"/>
              <a:gd name="T18" fmla="*/ 528 w 699"/>
              <a:gd name="T19" fmla="*/ 93 h 691"/>
              <a:gd name="T20" fmla="*/ 509 w 699"/>
              <a:gd name="T21" fmla="*/ 37 h 691"/>
              <a:gd name="T22" fmla="*/ 484 w 699"/>
              <a:gd name="T23" fmla="*/ 34 h 691"/>
              <a:gd name="T24" fmla="*/ 447 w 699"/>
              <a:gd name="T25" fmla="*/ 52 h 691"/>
              <a:gd name="T26" fmla="*/ 417 w 699"/>
              <a:gd name="T27" fmla="*/ 6 h 691"/>
              <a:gd name="T28" fmla="*/ 394 w 699"/>
              <a:gd name="T29" fmla="*/ 1 h 691"/>
              <a:gd name="T30" fmla="*/ 352 w 699"/>
              <a:gd name="T31" fmla="*/ 37 h 691"/>
              <a:gd name="T32" fmla="*/ 322 w 699"/>
              <a:gd name="T33" fmla="*/ 8 h 691"/>
              <a:gd name="T34" fmla="*/ 273 w 699"/>
              <a:gd name="T35" fmla="*/ 16 h 691"/>
              <a:gd name="T36" fmla="*/ 253 w 699"/>
              <a:gd name="T37" fmla="*/ 52 h 691"/>
              <a:gd name="T38" fmla="*/ 217 w 699"/>
              <a:gd name="T39" fmla="*/ 34 h 691"/>
              <a:gd name="T40" fmla="*/ 192 w 699"/>
              <a:gd name="T41" fmla="*/ 37 h 691"/>
              <a:gd name="T42" fmla="*/ 174 w 699"/>
              <a:gd name="T43" fmla="*/ 93 h 691"/>
              <a:gd name="T44" fmla="*/ 110 w 699"/>
              <a:gd name="T45" fmla="*/ 94 h 691"/>
              <a:gd name="T46" fmla="*/ 102 w 699"/>
              <a:gd name="T47" fmla="*/ 159 h 691"/>
              <a:gd name="T48" fmla="*/ 94 w 699"/>
              <a:gd name="T49" fmla="*/ 171 h 691"/>
              <a:gd name="T50" fmla="*/ 39 w 699"/>
              <a:gd name="T51" fmla="*/ 186 h 691"/>
              <a:gd name="T52" fmla="*/ 34 w 699"/>
              <a:gd name="T53" fmla="*/ 215 h 691"/>
              <a:gd name="T54" fmla="*/ 53 w 699"/>
              <a:gd name="T55" fmla="*/ 252 h 691"/>
              <a:gd name="T56" fmla="*/ 5 w 699"/>
              <a:gd name="T57" fmla="*/ 280 h 691"/>
              <a:gd name="T58" fmla="*/ 1 w 699"/>
              <a:gd name="T59" fmla="*/ 304 h 691"/>
              <a:gd name="T60" fmla="*/ 39 w 699"/>
              <a:gd name="T61" fmla="*/ 345 h 691"/>
              <a:gd name="T62" fmla="*/ 8 w 699"/>
              <a:gd name="T63" fmla="*/ 374 h 691"/>
              <a:gd name="T64" fmla="*/ 16 w 699"/>
              <a:gd name="T65" fmla="*/ 423 h 691"/>
              <a:gd name="T66" fmla="*/ 54 w 699"/>
              <a:gd name="T67" fmla="*/ 443 h 691"/>
              <a:gd name="T68" fmla="*/ 33 w 699"/>
              <a:gd name="T69" fmla="*/ 496 h 691"/>
              <a:gd name="T70" fmla="*/ 94 w 699"/>
              <a:gd name="T71" fmla="*/ 521 h 691"/>
              <a:gd name="T72" fmla="*/ 102 w 699"/>
              <a:gd name="T73" fmla="*/ 533 h 691"/>
              <a:gd name="T74" fmla="*/ 110 w 699"/>
              <a:gd name="T75" fmla="*/ 600 h 691"/>
              <a:gd name="T76" fmla="*/ 167 w 699"/>
              <a:gd name="T77" fmla="*/ 596 h 691"/>
              <a:gd name="T78" fmla="*/ 173 w 699"/>
              <a:gd name="T79" fmla="*/ 635 h 691"/>
              <a:gd name="T80" fmla="*/ 193 w 699"/>
              <a:gd name="T81" fmla="*/ 657 h 691"/>
              <a:gd name="T82" fmla="*/ 245 w 699"/>
              <a:gd name="T83" fmla="*/ 638 h 691"/>
              <a:gd name="T84" fmla="*/ 261 w 699"/>
              <a:gd name="T85" fmla="*/ 642 h 691"/>
              <a:gd name="T86" fmla="*/ 307 w 699"/>
              <a:gd name="T87" fmla="*/ 691 h 691"/>
              <a:gd name="T88" fmla="*/ 358 w 699"/>
              <a:gd name="T89" fmla="*/ 655 h 691"/>
              <a:gd name="T90" fmla="*/ 394 w 699"/>
              <a:gd name="T91" fmla="*/ 691 h 691"/>
              <a:gd name="T92" fmla="*/ 440 w 699"/>
              <a:gd name="T93" fmla="*/ 642 h 691"/>
              <a:gd name="T94" fmla="*/ 454 w 699"/>
              <a:gd name="T95" fmla="*/ 637 h 691"/>
              <a:gd name="T96" fmla="*/ 508 w 699"/>
              <a:gd name="T97" fmla="*/ 657 h 691"/>
              <a:gd name="T98" fmla="*/ 528 w 699"/>
              <a:gd name="T99" fmla="*/ 636 h 691"/>
              <a:gd name="T100" fmla="*/ 539 w 699"/>
              <a:gd name="T101" fmla="*/ 592 h 691"/>
              <a:gd name="T102" fmla="*/ 606 w 699"/>
              <a:gd name="T103" fmla="*/ 584 h 691"/>
              <a:gd name="T104" fmla="*/ 602 w 699"/>
              <a:gd name="T105" fmla="*/ 528 h 691"/>
              <a:gd name="T106" fmla="*/ 643 w 699"/>
              <a:gd name="T107" fmla="*/ 522 h 691"/>
              <a:gd name="T108" fmla="*/ 667 w 699"/>
              <a:gd name="T109" fmla="*/ 478 h 691"/>
              <a:gd name="T110" fmla="*/ 648 w 699"/>
              <a:gd name="T111" fmla="*/ 441 h 691"/>
              <a:gd name="T112" fmla="*/ 696 w 699"/>
              <a:gd name="T113" fmla="*/ 410 h 6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699" h="691">
                <a:moveTo>
                  <a:pt x="692" y="374"/>
                </a:moveTo>
                <a:cubicBezTo>
                  <a:pt x="662" y="354"/>
                  <a:pt x="662" y="354"/>
                  <a:pt x="662" y="354"/>
                </a:cubicBezTo>
                <a:cubicBezTo>
                  <a:pt x="662" y="347"/>
                  <a:pt x="662" y="347"/>
                  <a:pt x="662" y="347"/>
                </a:cubicBezTo>
                <a:cubicBezTo>
                  <a:pt x="662" y="346"/>
                  <a:pt x="662" y="346"/>
                  <a:pt x="662" y="345"/>
                </a:cubicBezTo>
                <a:cubicBezTo>
                  <a:pt x="662" y="339"/>
                  <a:pt x="662" y="339"/>
                  <a:pt x="662" y="339"/>
                </a:cubicBezTo>
                <a:cubicBezTo>
                  <a:pt x="691" y="320"/>
                  <a:pt x="691" y="320"/>
                  <a:pt x="691" y="320"/>
                </a:cubicBezTo>
                <a:cubicBezTo>
                  <a:pt x="696" y="316"/>
                  <a:pt x="699" y="310"/>
                  <a:pt x="698" y="304"/>
                </a:cubicBezTo>
                <a:cubicBezTo>
                  <a:pt x="696" y="282"/>
                  <a:pt x="696" y="282"/>
                  <a:pt x="696" y="282"/>
                </a:cubicBezTo>
                <a:cubicBezTo>
                  <a:pt x="695" y="276"/>
                  <a:pt x="691" y="271"/>
                  <a:pt x="684" y="269"/>
                </a:cubicBezTo>
                <a:cubicBezTo>
                  <a:pt x="650" y="259"/>
                  <a:pt x="650" y="259"/>
                  <a:pt x="650" y="259"/>
                </a:cubicBezTo>
                <a:cubicBezTo>
                  <a:pt x="650" y="259"/>
                  <a:pt x="650" y="259"/>
                  <a:pt x="650" y="258"/>
                </a:cubicBezTo>
                <a:cubicBezTo>
                  <a:pt x="645" y="243"/>
                  <a:pt x="645" y="243"/>
                  <a:pt x="645" y="243"/>
                </a:cubicBezTo>
                <a:cubicBezTo>
                  <a:pt x="667" y="215"/>
                  <a:pt x="667" y="215"/>
                  <a:pt x="667" y="215"/>
                </a:cubicBezTo>
                <a:cubicBezTo>
                  <a:pt x="671" y="211"/>
                  <a:pt x="671" y="204"/>
                  <a:pt x="668" y="198"/>
                </a:cubicBezTo>
                <a:cubicBezTo>
                  <a:pt x="663" y="188"/>
                  <a:pt x="663" y="188"/>
                  <a:pt x="663" y="188"/>
                </a:cubicBezTo>
                <a:cubicBezTo>
                  <a:pt x="663" y="187"/>
                  <a:pt x="663" y="187"/>
                  <a:pt x="662" y="186"/>
                </a:cubicBezTo>
                <a:cubicBezTo>
                  <a:pt x="657" y="179"/>
                  <a:pt x="657" y="179"/>
                  <a:pt x="657" y="179"/>
                </a:cubicBezTo>
                <a:cubicBezTo>
                  <a:pt x="654" y="174"/>
                  <a:pt x="649" y="171"/>
                  <a:pt x="644" y="171"/>
                </a:cubicBezTo>
                <a:cubicBezTo>
                  <a:pt x="607" y="171"/>
                  <a:pt x="607" y="171"/>
                  <a:pt x="607" y="171"/>
                </a:cubicBezTo>
                <a:cubicBezTo>
                  <a:pt x="603" y="165"/>
                  <a:pt x="603" y="165"/>
                  <a:pt x="603" y="165"/>
                </a:cubicBezTo>
                <a:cubicBezTo>
                  <a:pt x="603" y="165"/>
                  <a:pt x="602" y="165"/>
                  <a:pt x="602" y="165"/>
                </a:cubicBezTo>
                <a:cubicBezTo>
                  <a:pt x="599" y="160"/>
                  <a:pt x="599" y="160"/>
                  <a:pt x="599" y="160"/>
                </a:cubicBezTo>
                <a:cubicBezTo>
                  <a:pt x="610" y="126"/>
                  <a:pt x="610" y="126"/>
                  <a:pt x="610" y="126"/>
                </a:cubicBezTo>
                <a:cubicBezTo>
                  <a:pt x="612" y="120"/>
                  <a:pt x="610" y="113"/>
                  <a:pt x="606" y="109"/>
                </a:cubicBezTo>
                <a:cubicBezTo>
                  <a:pt x="591" y="94"/>
                  <a:pt x="591" y="94"/>
                  <a:pt x="591" y="94"/>
                </a:cubicBezTo>
                <a:cubicBezTo>
                  <a:pt x="586" y="89"/>
                  <a:pt x="580" y="88"/>
                  <a:pt x="574" y="90"/>
                </a:cubicBezTo>
                <a:cubicBezTo>
                  <a:pt x="540" y="101"/>
                  <a:pt x="540" y="101"/>
                  <a:pt x="540" y="101"/>
                </a:cubicBezTo>
                <a:cubicBezTo>
                  <a:pt x="540" y="101"/>
                  <a:pt x="539" y="101"/>
                  <a:pt x="539" y="100"/>
                </a:cubicBezTo>
                <a:cubicBezTo>
                  <a:pt x="533" y="97"/>
                  <a:pt x="533" y="97"/>
                  <a:pt x="533" y="97"/>
                </a:cubicBezTo>
                <a:cubicBezTo>
                  <a:pt x="528" y="93"/>
                  <a:pt x="528" y="93"/>
                  <a:pt x="528" y="93"/>
                </a:cubicBezTo>
                <a:cubicBezTo>
                  <a:pt x="528" y="56"/>
                  <a:pt x="528" y="56"/>
                  <a:pt x="528" y="56"/>
                </a:cubicBezTo>
                <a:cubicBezTo>
                  <a:pt x="528" y="50"/>
                  <a:pt x="525" y="44"/>
                  <a:pt x="519" y="42"/>
                </a:cubicBezTo>
                <a:cubicBezTo>
                  <a:pt x="509" y="37"/>
                  <a:pt x="509" y="37"/>
                  <a:pt x="509" y="37"/>
                </a:cubicBezTo>
                <a:cubicBezTo>
                  <a:pt x="509" y="36"/>
                  <a:pt x="509" y="36"/>
                  <a:pt x="508" y="36"/>
                </a:cubicBezTo>
                <a:cubicBezTo>
                  <a:pt x="499" y="32"/>
                  <a:pt x="499" y="32"/>
                  <a:pt x="499" y="32"/>
                </a:cubicBezTo>
                <a:cubicBezTo>
                  <a:pt x="494" y="30"/>
                  <a:pt x="488" y="31"/>
                  <a:pt x="484" y="34"/>
                </a:cubicBezTo>
                <a:cubicBezTo>
                  <a:pt x="454" y="55"/>
                  <a:pt x="454" y="55"/>
                  <a:pt x="454" y="55"/>
                </a:cubicBezTo>
                <a:cubicBezTo>
                  <a:pt x="449" y="53"/>
                  <a:pt x="449" y="53"/>
                  <a:pt x="449" y="53"/>
                </a:cubicBezTo>
                <a:cubicBezTo>
                  <a:pt x="448" y="52"/>
                  <a:pt x="447" y="52"/>
                  <a:pt x="447" y="52"/>
                </a:cubicBezTo>
                <a:cubicBezTo>
                  <a:pt x="440" y="50"/>
                  <a:pt x="440" y="50"/>
                  <a:pt x="440" y="50"/>
                </a:cubicBezTo>
                <a:cubicBezTo>
                  <a:pt x="428" y="16"/>
                  <a:pt x="428" y="16"/>
                  <a:pt x="428" y="16"/>
                </a:cubicBezTo>
                <a:cubicBezTo>
                  <a:pt x="427" y="11"/>
                  <a:pt x="422" y="7"/>
                  <a:pt x="417" y="6"/>
                </a:cubicBezTo>
                <a:cubicBezTo>
                  <a:pt x="407" y="3"/>
                  <a:pt x="407" y="3"/>
                  <a:pt x="407" y="3"/>
                </a:cubicBezTo>
                <a:cubicBezTo>
                  <a:pt x="406" y="3"/>
                  <a:pt x="405" y="3"/>
                  <a:pt x="405" y="3"/>
                </a:cubicBezTo>
                <a:cubicBezTo>
                  <a:pt x="394" y="1"/>
                  <a:pt x="394" y="1"/>
                  <a:pt x="394" y="1"/>
                </a:cubicBezTo>
                <a:cubicBezTo>
                  <a:pt x="388" y="1"/>
                  <a:pt x="383" y="3"/>
                  <a:pt x="379" y="8"/>
                </a:cubicBezTo>
                <a:cubicBezTo>
                  <a:pt x="359" y="38"/>
                  <a:pt x="359" y="38"/>
                  <a:pt x="359" y="38"/>
                </a:cubicBezTo>
                <a:cubicBezTo>
                  <a:pt x="352" y="37"/>
                  <a:pt x="352" y="37"/>
                  <a:pt x="352" y="37"/>
                </a:cubicBezTo>
                <a:cubicBezTo>
                  <a:pt x="352" y="37"/>
                  <a:pt x="351" y="37"/>
                  <a:pt x="350" y="37"/>
                </a:cubicBezTo>
                <a:cubicBezTo>
                  <a:pt x="342" y="38"/>
                  <a:pt x="342" y="38"/>
                  <a:pt x="342" y="38"/>
                </a:cubicBezTo>
                <a:cubicBezTo>
                  <a:pt x="322" y="8"/>
                  <a:pt x="322" y="8"/>
                  <a:pt x="322" y="8"/>
                </a:cubicBezTo>
                <a:cubicBezTo>
                  <a:pt x="318" y="3"/>
                  <a:pt x="312" y="0"/>
                  <a:pt x="306" y="2"/>
                </a:cubicBezTo>
                <a:cubicBezTo>
                  <a:pt x="285" y="5"/>
                  <a:pt x="285" y="5"/>
                  <a:pt x="285" y="5"/>
                </a:cubicBezTo>
                <a:cubicBezTo>
                  <a:pt x="279" y="7"/>
                  <a:pt x="275" y="11"/>
                  <a:pt x="273" y="16"/>
                </a:cubicBezTo>
                <a:cubicBezTo>
                  <a:pt x="262" y="50"/>
                  <a:pt x="262" y="50"/>
                  <a:pt x="262" y="50"/>
                </a:cubicBezTo>
                <a:cubicBezTo>
                  <a:pt x="261" y="50"/>
                  <a:pt x="261" y="50"/>
                  <a:pt x="261" y="50"/>
                </a:cubicBezTo>
                <a:cubicBezTo>
                  <a:pt x="253" y="52"/>
                  <a:pt x="253" y="52"/>
                  <a:pt x="253" y="52"/>
                </a:cubicBezTo>
                <a:cubicBezTo>
                  <a:pt x="253" y="52"/>
                  <a:pt x="253" y="53"/>
                  <a:pt x="253" y="53"/>
                </a:cubicBezTo>
                <a:cubicBezTo>
                  <a:pt x="247" y="55"/>
                  <a:pt x="247" y="55"/>
                  <a:pt x="247" y="55"/>
                </a:cubicBezTo>
                <a:cubicBezTo>
                  <a:pt x="217" y="34"/>
                  <a:pt x="217" y="34"/>
                  <a:pt x="217" y="34"/>
                </a:cubicBezTo>
                <a:cubicBezTo>
                  <a:pt x="213" y="31"/>
                  <a:pt x="207" y="30"/>
                  <a:pt x="202" y="32"/>
                </a:cubicBezTo>
                <a:cubicBezTo>
                  <a:pt x="193" y="36"/>
                  <a:pt x="193" y="36"/>
                  <a:pt x="193" y="36"/>
                </a:cubicBezTo>
                <a:cubicBezTo>
                  <a:pt x="192" y="36"/>
                  <a:pt x="192" y="36"/>
                  <a:pt x="192" y="37"/>
                </a:cubicBezTo>
                <a:cubicBezTo>
                  <a:pt x="181" y="42"/>
                  <a:pt x="181" y="42"/>
                  <a:pt x="181" y="42"/>
                </a:cubicBezTo>
                <a:cubicBezTo>
                  <a:pt x="176" y="45"/>
                  <a:pt x="172" y="50"/>
                  <a:pt x="173" y="57"/>
                </a:cubicBezTo>
                <a:cubicBezTo>
                  <a:pt x="174" y="93"/>
                  <a:pt x="174" y="93"/>
                  <a:pt x="174" y="93"/>
                </a:cubicBezTo>
                <a:cubicBezTo>
                  <a:pt x="162" y="101"/>
                  <a:pt x="162" y="101"/>
                  <a:pt x="162" y="101"/>
                </a:cubicBezTo>
                <a:cubicBezTo>
                  <a:pt x="127" y="90"/>
                  <a:pt x="127" y="90"/>
                  <a:pt x="127" y="90"/>
                </a:cubicBezTo>
                <a:cubicBezTo>
                  <a:pt x="121" y="88"/>
                  <a:pt x="115" y="89"/>
                  <a:pt x="110" y="94"/>
                </a:cubicBezTo>
                <a:cubicBezTo>
                  <a:pt x="95" y="109"/>
                  <a:pt x="95" y="109"/>
                  <a:pt x="95" y="109"/>
                </a:cubicBezTo>
                <a:cubicBezTo>
                  <a:pt x="90" y="113"/>
                  <a:pt x="89" y="120"/>
                  <a:pt x="91" y="126"/>
                </a:cubicBezTo>
                <a:cubicBezTo>
                  <a:pt x="102" y="159"/>
                  <a:pt x="102" y="159"/>
                  <a:pt x="102" y="159"/>
                </a:cubicBezTo>
                <a:cubicBezTo>
                  <a:pt x="102" y="159"/>
                  <a:pt x="102" y="160"/>
                  <a:pt x="101" y="160"/>
                </a:cubicBezTo>
                <a:cubicBezTo>
                  <a:pt x="98" y="166"/>
                  <a:pt x="98" y="166"/>
                  <a:pt x="98" y="166"/>
                </a:cubicBezTo>
                <a:cubicBezTo>
                  <a:pt x="94" y="171"/>
                  <a:pt x="94" y="171"/>
                  <a:pt x="94" y="171"/>
                </a:cubicBezTo>
                <a:cubicBezTo>
                  <a:pt x="57" y="171"/>
                  <a:pt x="57" y="171"/>
                  <a:pt x="57" y="171"/>
                </a:cubicBezTo>
                <a:cubicBezTo>
                  <a:pt x="52" y="171"/>
                  <a:pt x="47" y="174"/>
                  <a:pt x="44" y="179"/>
                </a:cubicBezTo>
                <a:cubicBezTo>
                  <a:pt x="39" y="186"/>
                  <a:pt x="39" y="186"/>
                  <a:pt x="39" y="186"/>
                </a:cubicBezTo>
                <a:cubicBezTo>
                  <a:pt x="38" y="187"/>
                  <a:pt x="38" y="187"/>
                  <a:pt x="38" y="188"/>
                </a:cubicBezTo>
                <a:cubicBezTo>
                  <a:pt x="32" y="198"/>
                  <a:pt x="32" y="198"/>
                  <a:pt x="32" y="198"/>
                </a:cubicBezTo>
                <a:cubicBezTo>
                  <a:pt x="30" y="204"/>
                  <a:pt x="30" y="211"/>
                  <a:pt x="34" y="215"/>
                </a:cubicBezTo>
                <a:cubicBezTo>
                  <a:pt x="56" y="243"/>
                  <a:pt x="56" y="243"/>
                  <a:pt x="56" y="243"/>
                </a:cubicBezTo>
                <a:cubicBezTo>
                  <a:pt x="53" y="251"/>
                  <a:pt x="53" y="251"/>
                  <a:pt x="53" y="251"/>
                </a:cubicBezTo>
                <a:cubicBezTo>
                  <a:pt x="53" y="251"/>
                  <a:pt x="53" y="252"/>
                  <a:pt x="53" y="252"/>
                </a:cubicBezTo>
                <a:cubicBezTo>
                  <a:pt x="52" y="258"/>
                  <a:pt x="52" y="258"/>
                  <a:pt x="52" y="258"/>
                </a:cubicBezTo>
                <a:cubicBezTo>
                  <a:pt x="17" y="269"/>
                  <a:pt x="17" y="269"/>
                  <a:pt x="17" y="269"/>
                </a:cubicBezTo>
                <a:cubicBezTo>
                  <a:pt x="11" y="270"/>
                  <a:pt x="7" y="275"/>
                  <a:pt x="5" y="280"/>
                </a:cubicBezTo>
                <a:cubicBezTo>
                  <a:pt x="3" y="291"/>
                  <a:pt x="3" y="291"/>
                  <a:pt x="3" y="291"/>
                </a:cubicBezTo>
                <a:cubicBezTo>
                  <a:pt x="3" y="291"/>
                  <a:pt x="3" y="292"/>
                  <a:pt x="2" y="293"/>
                </a:cubicBezTo>
                <a:cubicBezTo>
                  <a:pt x="1" y="304"/>
                  <a:pt x="1" y="304"/>
                  <a:pt x="1" y="304"/>
                </a:cubicBezTo>
                <a:cubicBezTo>
                  <a:pt x="1" y="310"/>
                  <a:pt x="3" y="316"/>
                  <a:pt x="9" y="320"/>
                </a:cubicBezTo>
                <a:cubicBezTo>
                  <a:pt x="39" y="339"/>
                  <a:pt x="39" y="339"/>
                  <a:pt x="39" y="339"/>
                </a:cubicBezTo>
                <a:cubicBezTo>
                  <a:pt x="39" y="345"/>
                  <a:pt x="39" y="345"/>
                  <a:pt x="39" y="345"/>
                </a:cubicBezTo>
                <a:cubicBezTo>
                  <a:pt x="38" y="346"/>
                  <a:pt x="38" y="346"/>
                  <a:pt x="39" y="347"/>
                </a:cubicBezTo>
                <a:cubicBezTo>
                  <a:pt x="39" y="353"/>
                  <a:pt x="39" y="353"/>
                  <a:pt x="39" y="353"/>
                </a:cubicBezTo>
                <a:cubicBezTo>
                  <a:pt x="8" y="374"/>
                  <a:pt x="8" y="374"/>
                  <a:pt x="8" y="374"/>
                </a:cubicBezTo>
                <a:cubicBezTo>
                  <a:pt x="3" y="377"/>
                  <a:pt x="0" y="384"/>
                  <a:pt x="1" y="390"/>
                </a:cubicBezTo>
                <a:cubicBezTo>
                  <a:pt x="5" y="411"/>
                  <a:pt x="5" y="411"/>
                  <a:pt x="5" y="411"/>
                </a:cubicBezTo>
                <a:cubicBezTo>
                  <a:pt x="6" y="417"/>
                  <a:pt x="10" y="421"/>
                  <a:pt x="16" y="423"/>
                </a:cubicBezTo>
                <a:cubicBezTo>
                  <a:pt x="52" y="435"/>
                  <a:pt x="52" y="435"/>
                  <a:pt x="52" y="435"/>
                </a:cubicBezTo>
                <a:cubicBezTo>
                  <a:pt x="53" y="440"/>
                  <a:pt x="53" y="440"/>
                  <a:pt x="53" y="440"/>
                </a:cubicBezTo>
                <a:cubicBezTo>
                  <a:pt x="53" y="441"/>
                  <a:pt x="53" y="442"/>
                  <a:pt x="54" y="443"/>
                </a:cubicBezTo>
                <a:cubicBezTo>
                  <a:pt x="56" y="449"/>
                  <a:pt x="56" y="449"/>
                  <a:pt x="56" y="449"/>
                </a:cubicBezTo>
                <a:cubicBezTo>
                  <a:pt x="34" y="478"/>
                  <a:pt x="34" y="478"/>
                  <a:pt x="34" y="478"/>
                </a:cubicBezTo>
                <a:cubicBezTo>
                  <a:pt x="30" y="483"/>
                  <a:pt x="30" y="490"/>
                  <a:pt x="33" y="496"/>
                </a:cubicBezTo>
                <a:cubicBezTo>
                  <a:pt x="43" y="514"/>
                  <a:pt x="43" y="514"/>
                  <a:pt x="43" y="514"/>
                </a:cubicBezTo>
                <a:cubicBezTo>
                  <a:pt x="46" y="519"/>
                  <a:pt x="52" y="522"/>
                  <a:pt x="58" y="522"/>
                </a:cubicBezTo>
                <a:cubicBezTo>
                  <a:pt x="94" y="521"/>
                  <a:pt x="94" y="521"/>
                  <a:pt x="94" y="521"/>
                </a:cubicBezTo>
                <a:cubicBezTo>
                  <a:pt x="98" y="527"/>
                  <a:pt x="98" y="527"/>
                  <a:pt x="98" y="527"/>
                </a:cubicBezTo>
                <a:cubicBezTo>
                  <a:pt x="98" y="528"/>
                  <a:pt x="98" y="528"/>
                  <a:pt x="99" y="529"/>
                </a:cubicBezTo>
                <a:cubicBezTo>
                  <a:pt x="102" y="533"/>
                  <a:pt x="102" y="533"/>
                  <a:pt x="102" y="533"/>
                </a:cubicBezTo>
                <a:cubicBezTo>
                  <a:pt x="91" y="568"/>
                  <a:pt x="91" y="568"/>
                  <a:pt x="91" y="568"/>
                </a:cubicBezTo>
                <a:cubicBezTo>
                  <a:pt x="89" y="573"/>
                  <a:pt x="90" y="580"/>
                  <a:pt x="95" y="584"/>
                </a:cubicBezTo>
                <a:cubicBezTo>
                  <a:pt x="110" y="600"/>
                  <a:pt x="110" y="600"/>
                  <a:pt x="110" y="600"/>
                </a:cubicBezTo>
                <a:cubicBezTo>
                  <a:pt x="115" y="604"/>
                  <a:pt x="121" y="605"/>
                  <a:pt x="127" y="603"/>
                </a:cubicBezTo>
                <a:cubicBezTo>
                  <a:pt x="162" y="592"/>
                  <a:pt x="162" y="592"/>
                  <a:pt x="162" y="592"/>
                </a:cubicBezTo>
                <a:cubicBezTo>
                  <a:pt x="167" y="596"/>
                  <a:pt x="167" y="596"/>
                  <a:pt x="167" y="596"/>
                </a:cubicBezTo>
                <a:cubicBezTo>
                  <a:pt x="167" y="596"/>
                  <a:pt x="168" y="596"/>
                  <a:pt x="168" y="596"/>
                </a:cubicBezTo>
                <a:cubicBezTo>
                  <a:pt x="174" y="600"/>
                  <a:pt x="174" y="600"/>
                  <a:pt x="174" y="600"/>
                </a:cubicBezTo>
                <a:cubicBezTo>
                  <a:pt x="173" y="635"/>
                  <a:pt x="173" y="635"/>
                  <a:pt x="173" y="635"/>
                </a:cubicBezTo>
                <a:cubicBezTo>
                  <a:pt x="172" y="641"/>
                  <a:pt x="175" y="647"/>
                  <a:pt x="180" y="650"/>
                </a:cubicBezTo>
                <a:cubicBezTo>
                  <a:pt x="190" y="656"/>
                  <a:pt x="190" y="656"/>
                  <a:pt x="190" y="656"/>
                </a:cubicBezTo>
                <a:cubicBezTo>
                  <a:pt x="191" y="656"/>
                  <a:pt x="192" y="657"/>
                  <a:pt x="193" y="657"/>
                </a:cubicBezTo>
                <a:cubicBezTo>
                  <a:pt x="202" y="661"/>
                  <a:pt x="202" y="661"/>
                  <a:pt x="202" y="661"/>
                </a:cubicBezTo>
                <a:cubicBezTo>
                  <a:pt x="207" y="663"/>
                  <a:pt x="213" y="663"/>
                  <a:pt x="218" y="659"/>
                </a:cubicBezTo>
                <a:cubicBezTo>
                  <a:pt x="245" y="638"/>
                  <a:pt x="245" y="638"/>
                  <a:pt x="245" y="638"/>
                </a:cubicBezTo>
                <a:cubicBezTo>
                  <a:pt x="246" y="639"/>
                  <a:pt x="247" y="639"/>
                  <a:pt x="248" y="639"/>
                </a:cubicBezTo>
                <a:cubicBezTo>
                  <a:pt x="254" y="640"/>
                  <a:pt x="254" y="640"/>
                  <a:pt x="254" y="640"/>
                </a:cubicBezTo>
                <a:cubicBezTo>
                  <a:pt x="261" y="642"/>
                  <a:pt x="261" y="642"/>
                  <a:pt x="261" y="642"/>
                </a:cubicBezTo>
                <a:cubicBezTo>
                  <a:pt x="273" y="677"/>
                  <a:pt x="273" y="677"/>
                  <a:pt x="273" y="677"/>
                </a:cubicBezTo>
                <a:cubicBezTo>
                  <a:pt x="275" y="683"/>
                  <a:pt x="280" y="687"/>
                  <a:pt x="286" y="688"/>
                </a:cubicBezTo>
                <a:cubicBezTo>
                  <a:pt x="307" y="691"/>
                  <a:pt x="307" y="691"/>
                  <a:pt x="307" y="691"/>
                </a:cubicBezTo>
                <a:cubicBezTo>
                  <a:pt x="312" y="691"/>
                  <a:pt x="318" y="689"/>
                  <a:pt x="322" y="684"/>
                </a:cubicBezTo>
                <a:cubicBezTo>
                  <a:pt x="343" y="655"/>
                  <a:pt x="343" y="655"/>
                  <a:pt x="343" y="655"/>
                </a:cubicBezTo>
                <a:cubicBezTo>
                  <a:pt x="358" y="655"/>
                  <a:pt x="358" y="655"/>
                  <a:pt x="358" y="655"/>
                </a:cubicBezTo>
                <a:cubicBezTo>
                  <a:pt x="379" y="684"/>
                  <a:pt x="379" y="684"/>
                  <a:pt x="379" y="684"/>
                </a:cubicBezTo>
                <a:cubicBezTo>
                  <a:pt x="382" y="688"/>
                  <a:pt x="387" y="691"/>
                  <a:pt x="392" y="691"/>
                </a:cubicBezTo>
                <a:cubicBezTo>
                  <a:pt x="393" y="691"/>
                  <a:pt x="394" y="691"/>
                  <a:pt x="394" y="691"/>
                </a:cubicBezTo>
                <a:cubicBezTo>
                  <a:pt x="415" y="688"/>
                  <a:pt x="415" y="688"/>
                  <a:pt x="415" y="688"/>
                </a:cubicBezTo>
                <a:cubicBezTo>
                  <a:pt x="421" y="687"/>
                  <a:pt x="426" y="683"/>
                  <a:pt x="428" y="677"/>
                </a:cubicBezTo>
                <a:cubicBezTo>
                  <a:pt x="440" y="642"/>
                  <a:pt x="440" y="642"/>
                  <a:pt x="440" y="642"/>
                </a:cubicBezTo>
                <a:cubicBezTo>
                  <a:pt x="448" y="640"/>
                  <a:pt x="448" y="640"/>
                  <a:pt x="448" y="640"/>
                </a:cubicBezTo>
                <a:cubicBezTo>
                  <a:pt x="448" y="640"/>
                  <a:pt x="448" y="639"/>
                  <a:pt x="448" y="639"/>
                </a:cubicBezTo>
                <a:cubicBezTo>
                  <a:pt x="454" y="637"/>
                  <a:pt x="454" y="637"/>
                  <a:pt x="454" y="637"/>
                </a:cubicBezTo>
                <a:cubicBezTo>
                  <a:pt x="483" y="659"/>
                  <a:pt x="483" y="659"/>
                  <a:pt x="483" y="659"/>
                </a:cubicBezTo>
                <a:cubicBezTo>
                  <a:pt x="488" y="663"/>
                  <a:pt x="494" y="663"/>
                  <a:pt x="499" y="661"/>
                </a:cubicBezTo>
                <a:cubicBezTo>
                  <a:pt x="508" y="657"/>
                  <a:pt x="508" y="657"/>
                  <a:pt x="508" y="657"/>
                </a:cubicBezTo>
                <a:cubicBezTo>
                  <a:pt x="509" y="657"/>
                  <a:pt x="510" y="656"/>
                  <a:pt x="510" y="656"/>
                </a:cubicBezTo>
                <a:cubicBezTo>
                  <a:pt x="521" y="650"/>
                  <a:pt x="521" y="650"/>
                  <a:pt x="521" y="650"/>
                </a:cubicBezTo>
                <a:cubicBezTo>
                  <a:pt x="525" y="647"/>
                  <a:pt x="528" y="641"/>
                  <a:pt x="528" y="636"/>
                </a:cubicBezTo>
                <a:cubicBezTo>
                  <a:pt x="528" y="600"/>
                  <a:pt x="528" y="600"/>
                  <a:pt x="528" y="600"/>
                </a:cubicBezTo>
                <a:cubicBezTo>
                  <a:pt x="533" y="596"/>
                  <a:pt x="533" y="596"/>
                  <a:pt x="533" y="596"/>
                </a:cubicBezTo>
                <a:cubicBezTo>
                  <a:pt x="539" y="592"/>
                  <a:pt x="539" y="592"/>
                  <a:pt x="539" y="592"/>
                </a:cubicBezTo>
                <a:cubicBezTo>
                  <a:pt x="574" y="603"/>
                  <a:pt x="574" y="603"/>
                  <a:pt x="574" y="603"/>
                </a:cubicBezTo>
                <a:cubicBezTo>
                  <a:pt x="580" y="605"/>
                  <a:pt x="586" y="604"/>
                  <a:pt x="591" y="600"/>
                </a:cubicBezTo>
                <a:cubicBezTo>
                  <a:pt x="606" y="584"/>
                  <a:pt x="606" y="584"/>
                  <a:pt x="606" y="584"/>
                </a:cubicBezTo>
                <a:cubicBezTo>
                  <a:pt x="610" y="580"/>
                  <a:pt x="612" y="573"/>
                  <a:pt x="610" y="568"/>
                </a:cubicBezTo>
                <a:cubicBezTo>
                  <a:pt x="599" y="533"/>
                  <a:pt x="599" y="533"/>
                  <a:pt x="599" y="533"/>
                </a:cubicBezTo>
                <a:cubicBezTo>
                  <a:pt x="602" y="528"/>
                  <a:pt x="602" y="528"/>
                  <a:pt x="602" y="528"/>
                </a:cubicBezTo>
                <a:cubicBezTo>
                  <a:pt x="603" y="528"/>
                  <a:pt x="603" y="528"/>
                  <a:pt x="603" y="527"/>
                </a:cubicBezTo>
                <a:cubicBezTo>
                  <a:pt x="607" y="521"/>
                  <a:pt x="607" y="521"/>
                  <a:pt x="607" y="521"/>
                </a:cubicBezTo>
                <a:cubicBezTo>
                  <a:pt x="643" y="522"/>
                  <a:pt x="643" y="522"/>
                  <a:pt x="643" y="522"/>
                </a:cubicBezTo>
                <a:cubicBezTo>
                  <a:pt x="649" y="522"/>
                  <a:pt x="655" y="519"/>
                  <a:pt x="658" y="514"/>
                </a:cubicBezTo>
                <a:cubicBezTo>
                  <a:pt x="668" y="496"/>
                  <a:pt x="668" y="496"/>
                  <a:pt x="668" y="496"/>
                </a:cubicBezTo>
                <a:cubicBezTo>
                  <a:pt x="671" y="490"/>
                  <a:pt x="671" y="483"/>
                  <a:pt x="667" y="478"/>
                </a:cubicBezTo>
                <a:cubicBezTo>
                  <a:pt x="645" y="449"/>
                  <a:pt x="645" y="449"/>
                  <a:pt x="645" y="449"/>
                </a:cubicBezTo>
                <a:cubicBezTo>
                  <a:pt x="647" y="443"/>
                  <a:pt x="647" y="443"/>
                  <a:pt x="647" y="443"/>
                </a:cubicBezTo>
                <a:cubicBezTo>
                  <a:pt x="647" y="443"/>
                  <a:pt x="648" y="442"/>
                  <a:pt x="648" y="441"/>
                </a:cubicBezTo>
                <a:cubicBezTo>
                  <a:pt x="649" y="435"/>
                  <a:pt x="649" y="435"/>
                  <a:pt x="649" y="435"/>
                </a:cubicBezTo>
                <a:cubicBezTo>
                  <a:pt x="685" y="423"/>
                  <a:pt x="685" y="423"/>
                  <a:pt x="685" y="423"/>
                </a:cubicBezTo>
                <a:cubicBezTo>
                  <a:pt x="691" y="421"/>
                  <a:pt x="695" y="416"/>
                  <a:pt x="696" y="410"/>
                </a:cubicBezTo>
                <a:cubicBezTo>
                  <a:pt x="698" y="389"/>
                  <a:pt x="698" y="389"/>
                  <a:pt x="698" y="389"/>
                </a:cubicBezTo>
                <a:cubicBezTo>
                  <a:pt x="699" y="383"/>
                  <a:pt x="697" y="377"/>
                  <a:pt x="692" y="37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CH" sz="1600" dirty="0"/>
          </a:p>
        </p:txBody>
      </p:sp>
      <p:sp>
        <p:nvSpPr>
          <p:cNvPr id="96" name="Oval 54"/>
          <p:cNvSpPr>
            <a:spLocks noChangeAspect="1" noChangeArrowheads="1"/>
          </p:cNvSpPr>
          <p:nvPr>
            <p:custDataLst>
              <p:tags r:id="rId17"/>
            </p:custDataLst>
          </p:nvPr>
        </p:nvSpPr>
        <p:spPr bwMode="gray">
          <a:xfrm>
            <a:off x="6618200" y="4814595"/>
            <a:ext cx="1080000" cy="1081402"/>
          </a:xfrm>
          <a:prstGeom prst="ellipse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/>
          <a:lstStyle/>
          <a:p>
            <a:pPr algn="ctr"/>
            <a:r>
              <a:rPr lang="fr-CH" sz="1600" b="1" dirty="0">
                <a:solidFill>
                  <a:schemeClr val="accent1"/>
                </a:solidFill>
              </a:rPr>
              <a:t>titre</a:t>
            </a:r>
          </a:p>
          <a:p>
            <a:pPr algn="ctr"/>
            <a:endParaRPr lang="fr-CH" sz="1600" b="1" dirty="0">
              <a:solidFill>
                <a:schemeClr val="accent1"/>
              </a:solidFill>
            </a:endParaRPr>
          </a:p>
        </p:txBody>
      </p:sp>
      <p:sp>
        <p:nvSpPr>
          <p:cNvPr id="97" name="Line 64"/>
          <p:cNvSpPr>
            <a:spLocks noChangeShapeType="1"/>
          </p:cNvSpPr>
          <p:nvPr>
            <p:custDataLst>
              <p:tags r:id="rId18"/>
            </p:custDataLst>
          </p:nvPr>
        </p:nvSpPr>
        <p:spPr bwMode="gray">
          <a:xfrm flipV="1">
            <a:off x="623888" y="5085184"/>
            <a:ext cx="3528000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CH" dirty="0">
              <a:solidFill>
                <a:srgbClr val="000000"/>
              </a:solidFill>
            </a:endParaRPr>
          </a:p>
        </p:txBody>
      </p:sp>
      <p:sp>
        <p:nvSpPr>
          <p:cNvPr id="98" name="TextBox 97"/>
          <p:cNvSpPr txBox="1"/>
          <p:nvPr>
            <p:custDataLst>
              <p:tags r:id="rId19"/>
            </p:custDataLst>
          </p:nvPr>
        </p:nvSpPr>
        <p:spPr bwMode="gray">
          <a:xfrm>
            <a:off x="623392" y="1340768"/>
            <a:ext cx="432048" cy="738208"/>
          </a:xfrm>
          <a:prstGeom prst="rect">
            <a:avLst/>
          </a:prstGeom>
          <a:solidFill>
            <a:schemeClr val="bg1"/>
          </a:solidFill>
          <a:ln w="19050" cap="rnd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44000" rIns="36000" bIns="0" rtlCol="0" anchor="ctr"/>
          <a:lstStyle>
            <a:defPPr>
              <a:defRPr lang="en-US"/>
            </a:defPPr>
            <a:lvl1pPr algn="ctr">
              <a:defRPr sz="1200">
                <a:solidFill>
                  <a:schemeClr val="accen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fr-CH" sz="3600" dirty="0">
                <a:solidFill>
                  <a:schemeClr val="accent4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6</a:t>
            </a:r>
          </a:p>
        </p:txBody>
      </p:sp>
      <p:sp>
        <p:nvSpPr>
          <p:cNvPr id="101" name="TextBox 100"/>
          <p:cNvSpPr txBox="1"/>
          <p:nvPr>
            <p:custDataLst>
              <p:tags r:id="rId20"/>
            </p:custDataLst>
          </p:nvPr>
        </p:nvSpPr>
        <p:spPr bwMode="gray">
          <a:xfrm>
            <a:off x="623392" y="2785204"/>
            <a:ext cx="432048" cy="738208"/>
          </a:xfrm>
          <a:prstGeom prst="rect">
            <a:avLst/>
          </a:prstGeom>
          <a:solidFill>
            <a:schemeClr val="bg1"/>
          </a:solidFill>
          <a:ln w="19050" cap="rnd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44000" rIns="36000" bIns="0" rtlCol="0" anchor="ctr"/>
          <a:lstStyle>
            <a:defPPr>
              <a:defRPr lang="en-US"/>
            </a:defPPr>
            <a:lvl1pPr algn="ctr">
              <a:defRPr sz="1200">
                <a:solidFill>
                  <a:schemeClr val="accen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fr-CH" sz="3600" dirty="0">
                <a:solidFill>
                  <a:schemeClr val="accent4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5</a:t>
            </a:r>
          </a:p>
        </p:txBody>
      </p:sp>
      <p:sp>
        <p:nvSpPr>
          <p:cNvPr id="102" name="TextBox 101"/>
          <p:cNvSpPr txBox="1"/>
          <p:nvPr>
            <p:custDataLst>
              <p:tags r:id="rId21"/>
            </p:custDataLst>
          </p:nvPr>
        </p:nvSpPr>
        <p:spPr bwMode="gray">
          <a:xfrm>
            <a:off x="623392" y="4585404"/>
            <a:ext cx="432048" cy="738208"/>
          </a:xfrm>
          <a:prstGeom prst="rect">
            <a:avLst/>
          </a:prstGeom>
          <a:solidFill>
            <a:schemeClr val="bg1"/>
          </a:solidFill>
          <a:ln w="19050" cap="rnd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44000" rIns="36000" bIns="0" rtlCol="0" anchor="ctr"/>
          <a:lstStyle>
            <a:defPPr>
              <a:defRPr lang="en-US"/>
            </a:defPPr>
            <a:lvl1pPr algn="ctr">
              <a:defRPr sz="1200">
                <a:solidFill>
                  <a:schemeClr val="accen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fr-CH" sz="3600" dirty="0">
                <a:solidFill>
                  <a:schemeClr val="accent4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107" name="Line 64"/>
          <p:cNvSpPr>
            <a:spLocks noChangeShapeType="1"/>
          </p:cNvSpPr>
          <p:nvPr>
            <p:custDataLst>
              <p:tags r:id="rId22"/>
            </p:custDataLst>
          </p:nvPr>
        </p:nvSpPr>
        <p:spPr bwMode="gray">
          <a:xfrm flipH="1" flipV="1">
            <a:off x="7896112" y="1700808"/>
            <a:ext cx="3672000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CH" dirty="0">
              <a:solidFill>
                <a:srgbClr val="000000"/>
              </a:solidFill>
            </a:endParaRPr>
          </a:p>
        </p:txBody>
      </p:sp>
      <p:sp>
        <p:nvSpPr>
          <p:cNvPr id="108" name="Line 64"/>
          <p:cNvSpPr>
            <a:spLocks noChangeShapeType="1"/>
          </p:cNvSpPr>
          <p:nvPr>
            <p:custDataLst>
              <p:tags r:id="rId23"/>
            </p:custDataLst>
          </p:nvPr>
        </p:nvSpPr>
        <p:spPr bwMode="gray">
          <a:xfrm flipH="1" flipV="1">
            <a:off x="8760112" y="3284984"/>
            <a:ext cx="2808000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CH" dirty="0">
              <a:solidFill>
                <a:srgbClr val="000000"/>
              </a:solidFill>
            </a:endParaRPr>
          </a:p>
        </p:txBody>
      </p:sp>
      <p:sp>
        <p:nvSpPr>
          <p:cNvPr id="109" name="Line 64"/>
          <p:cNvSpPr>
            <a:spLocks noChangeShapeType="1"/>
          </p:cNvSpPr>
          <p:nvPr>
            <p:custDataLst>
              <p:tags r:id="rId24"/>
            </p:custDataLst>
          </p:nvPr>
        </p:nvSpPr>
        <p:spPr bwMode="gray">
          <a:xfrm flipH="1" flipV="1">
            <a:off x="8040112" y="5085184"/>
            <a:ext cx="3528000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CH" dirty="0">
              <a:solidFill>
                <a:srgbClr val="000000"/>
              </a:solidFill>
            </a:endParaRPr>
          </a:p>
        </p:txBody>
      </p:sp>
      <p:sp>
        <p:nvSpPr>
          <p:cNvPr id="110" name="TextBox 109"/>
          <p:cNvSpPr txBox="1"/>
          <p:nvPr>
            <p:custDataLst>
              <p:tags r:id="rId25"/>
            </p:custDataLst>
          </p:nvPr>
        </p:nvSpPr>
        <p:spPr bwMode="gray">
          <a:xfrm flipH="1">
            <a:off x="11136560" y="1201028"/>
            <a:ext cx="432048" cy="738208"/>
          </a:xfrm>
          <a:prstGeom prst="rect">
            <a:avLst/>
          </a:prstGeom>
          <a:solidFill>
            <a:schemeClr val="bg1"/>
          </a:solidFill>
          <a:ln w="19050" cap="rnd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44000" rIns="36000" bIns="0" rtlCol="0" anchor="ctr"/>
          <a:lstStyle>
            <a:defPPr>
              <a:defRPr lang="en-US"/>
            </a:defPPr>
            <a:lvl1pPr algn="ctr">
              <a:defRPr sz="1200">
                <a:solidFill>
                  <a:schemeClr val="accen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fr-CH" sz="3600" dirty="0">
                <a:solidFill>
                  <a:schemeClr val="accent4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11" name="TextBox 110"/>
          <p:cNvSpPr txBox="1"/>
          <p:nvPr>
            <p:custDataLst>
              <p:tags r:id="rId26"/>
            </p:custDataLst>
          </p:nvPr>
        </p:nvSpPr>
        <p:spPr bwMode="gray">
          <a:xfrm flipH="1">
            <a:off x="11136560" y="2785204"/>
            <a:ext cx="432048" cy="738208"/>
          </a:xfrm>
          <a:prstGeom prst="rect">
            <a:avLst/>
          </a:prstGeom>
          <a:solidFill>
            <a:schemeClr val="bg1"/>
          </a:solidFill>
          <a:ln w="19050" cap="rnd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44000" rIns="36000" bIns="0" rtlCol="0" anchor="ctr"/>
          <a:lstStyle>
            <a:defPPr>
              <a:defRPr lang="en-US"/>
            </a:defPPr>
            <a:lvl1pPr algn="ctr">
              <a:defRPr sz="1200">
                <a:solidFill>
                  <a:schemeClr val="accen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fr-CH" sz="3600" dirty="0">
                <a:solidFill>
                  <a:schemeClr val="accent4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112" name="TextBox 111"/>
          <p:cNvSpPr txBox="1"/>
          <p:nvPr>
            <p:custDataLst>
              <p:tags r:id="rId27"/>
            </p:custDataLst>
          </p:nvPr>
        </p:nvSpPr>
        <p:spPr bwMode="gray">
          <a:xfrm flipH="1">
            <a:off x="11136560" y="4585404"/>
            <a:ext cx="432048" cy="738208"/>
          </a:xfrm>
          <a:prstGeom prst="rect">
            <a:avLst/>
          </a:prstGeom>
          <a:solidFill>
            <a:schemeClr val="bg1"/>
          </a:solidFill>
          <a:ln w="19050" cap="rnd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44000" rIns="36000" bIns="0" rtlCol="0" anchor="ctr"/>
          <a:lstStyle>
            <a:defPPr>
              <a:defRPr lang="en-US"/>
            </a:defPPr>
            <a:lvl1pPr algn="ctr">
              <a:defRPr sz="1200">
                <a:solidFill>
                  <a:schemeClr val="accen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fr-CH" sz="3600" dirty="0">
                <a:solidFill>
                  <a:schemeClr val="accent4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5779118" y="3599496"/>
            <a:ext cx="6293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CH" b="1" dirty="0" smtClean="0">
                <a:solidFill>
                  <a:schemeClr val="accent1"/>
                </a:solidFill>
              </a:rPr>
              <a:t>Titre</a:t>
            </a:r>
            <a:endParaRPr lang="fr-CH" dirty="0"/>
          </a:p>
        </p:txBody>
      </p:sp>
      <p:sp>
        <p:nvSpPr>
          <p:cNvPr id="62" name="TextBox 61"/>
          <p:cNvSpPr txBox="1"/>
          <p:nvPr/>
        </p:nvSpPr>
        <p:spPr>
          <a:xfrm>
            <a:off x="11666479" y="6352790"/>
            <a:ext cx="4187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CH" b="1" dirty="0">
                <a:solidFill>
                  <a:schemeClr val="accent1"/>
                </a:solidFill>
              </a:rPr>
              <a:t>05</a:t>
            </a:r>
            <a:endParaRPr lang="fr-CH" dirty="0"/>
          </a:p>
        </p:txBody>
      </p:sp>
      <p:sp>
        <p:nvSpPr>
          <p:cNvPr id="63" name="Freeform 115"/>
          <p:cNvSpPr>
            <a:spLocks/>
          </p:cNvSpPr>
          <p:nvPr>
            <p:custDataLst>
              <p:tags r:id="rId28"/>
            </p:custDataLst>
          </p:nvPr>
        </p:nvSpPr>
        <p:spPr bwMode="auto">
          <a:xfrm>
            <a:off x="10612837" y="6445134"/>
            <a:ext cx="943316" cy="304081"/>
          </a:xfrm>
          <a:custGeom>
            <a:avLst/>
            <a:gdLst>
              <a:gd name="T0" fmla="*/ 165 w 165"/>
              <a:gd name="T1" fmla="*/ 25 h 45"/>
              <a:gd name="T2" fmla="*/ 165 w 165"/>
              <a:gd name="T3" fmla="*/ 41 h 45"/>
              <a:gd name="T4" fmla="*/ 160 w 165"/>
              <a:gd name="T5" fmla="*/ 45 h 45"/>
              <a:gd name="T6" fmla="*/ 25 w 165"/>
              <a:gd name="T7" fmla="*/ 45 h 45"/>
              <a:gd name="T8" fmla="*/ 7 w 165"/>
              <a:gd name="T9" fmla="*/ 38 h 45"/>
              <a:gd name="T10" fmla="*/ 0 w 165"/>
              <a:gd name="T11" fmla="*/ 19 h 45"/>
              <a:gd name="T12" fmla="*/ 0 w 165"/>
              <a:gd name="T13" fmla="*/ 4 h 45"/>
              <a:gd name="T14" fmla="*/ 4 w 165"/>
              <a:gd name="T15" fmla="*/ 0 h 45"/>
              <a:gd name="T16" fmla="*/ 139 w 165"/>
              <a:gd name="T17" fmla="*/ 0 h 45"/>
              <a:gd name="T18" fmla="*/ 158 w 165"/>
              <a:gd name="T19" fmla="*/ 7 h 45"/>
              <a:gd name="T20" fmla="*/ 165 w 165"/>
              <a:gd name="T21" fmla="*/ 25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65" h="45">
                <a:moveTo>
                  <a:pt x="165" y="25"/>
                </a:moveTo>
                <a:cubicBezTo>
                  <a:pt x="165" y="41"/>
                  <a:pt x="165" y="41"/>
                  <a:pt x="165" y="41"/>
                </a:cubicBezTo>
                <a:cubicBezTo>
                  <a:pt x="165" y="44"/>
                  <a:pt x="163" y="45"/>
                  <a:pt x="160" y="45"/>
                </a:cubicBezTo>
                <a:cubicBezTo>
                  <a:pt x="25" y="45"/>
                  <a:pt x="25" y="45"/>
                  <a:pt x="25" y="45"/>
                </a:cubicBezTo>
                <a:cubicBezTo>
                  <a:pt x="17" y="45"/>
                  <a:pt x="11" y="43"/>
                  <a:pt x="7" y="38"/>
                </a:cubicBezTo>
                <a:cubicBezTo>
                  <a:pt x="2" y="34"/>
                  <a:pt x="0" y="28"/>
                  <a:pt x="0" y="19"/>
                </a:cubicBezTo>
                <a:cubicBezTo>
                  <a:pt x="0" y="4"/>
                  <a:pt x="0" y="4"/>
                  <a:pt x="0" y="4"/>
                </a:cubicBezTo>
                <a:cubicBezTo>
                  <a:pt x="0" y="1"/>
                  <a:pt x="1" y="0"/>
                  <a:pt x="4" y="0"/>
                </a:cubicBezTo>
                <a:cubicBezTo>
                  <a:pt x="139" y="0"/>
                  <a:pt x="139" y="0"/>
                  <a:pt x="139" y="0"/>
                </a:cubicBezTo>
                <a:cubicBezTo>
                  <a:pt x="147" y="0"/>
                  <a:pt x="153" y="2"/>
                  <a:pt x="158" y="7"/>
                </a:cubicBezTo>
                <a:cubicBezTo>
                  <a:pt x="162" y="11"/>
                  <a:pt x="165" y="17"/>
                  <a:pt x="165" y="25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 sz="1100" dirty="0"/>
              <a:t>Introduction</a:t>
            </a:r>
            <a:endParaRPr lang="fr-CH" sz="1100" dirty="0"/>
          </a:p>
        </p:txBody>
      </p:sp>
      <p:sp>
        <p:nvSpPr>
          <p:cNvPr id="46" name="Title 5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 bwMode="gray">
          <a:xfrm>
            <a:off x="623888" y="730800"/>
            <a:ext cx="10944225" cy="325952"/>
          </a:xfrm>
        </p:spPr>
        <p:txBody>
          <a:bodyPr>
            <a:normAutofit fontScale="90000"/>
          </a:bodyPr>
          <a:lstStyle/>
          <a:p>
            <a:r>
              <a:rPr lang="fr-CH" dirty="0" smtClean="0"/>
              <a:t>Titre</a:t>
            </a:r>
            <a:endParaRPr lang="fr-FR" dirty="0"/>
          </a:p>
        </p:txBody>
      </p:sp>
      <p:sp>
        <p:nvSpPr>
          <p:cNvPr id="47" name="ZoneTexte 46">
            <a:extLst>
              <a:ext uri="{FF2B5EF4-FFF2-40B4-BE49-F238E27FC236}">
                <a16:creationId xmlns:a16="http://schemas.microsoft.com/office/drawing/2014/main" id="{E32D746F-9A2D-4398-BE1E-3699C34DCB73}"/>
              </a:ext>
            </a:extLst>
          </p:cNvPr>
          <p:cNvSpPr txBox="1"/>
          <p:nvPr/>
        </p:nvSpPr>
        <p:spPr>
          <a:xfrm>
            <a:off x="6916849" y="539833"/>
            <a:ext cx="457925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CH" sz="4000" i="1" dirty="0" smtClean="0">
                <a:solidFill>
                  <a:srgbClr val="FFC000"/>
                </a:solidFill>
                <a:latin typeface="Arial Black" panose="020B0A04020102020204" pitchFamily="34" charset="0"/>
              </a:rPr>
              <a:t>Partie</a:t>
            </a:r>
            <a:endParaRPr lang="fr-CH" sz="4000" i="1" dirty="0">
              <a:solidFill>
                <a:srgbClr val="FFC000"/>
              </a:solidFill>
              <a:latin typeface="Arial Black" panose="020B0A0402010202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5181641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5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8" presetClass="emph" presetSubtype="0" repeatCount="indefinite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22" dur="50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8" presetClass="emph" presetSubtype="0" repeatCount="indefinite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38" dur="50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8" presetClass="emph" presetSubtype="0" repeatCount="indefinite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54" dur="50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8" presetClass="emph" presetSubtype="0" repeatCount="indefinite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70" dur="50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8" presetClass="emph" presetSubtype="0" repeatCount="indefinite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86" dur="50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>
                      <p:stCondLst>
                        <p:cond delay="indefinite"/>
                      </p:stCondLst>
                      <p:childTnLst>
                        <p:par>
                          <p:cTn id="88" fill="hold">
                            <p:stCondLst>
                              <p:cond delay="0"/>
                            </p:stCondLst>
                            <p:childTnLst>
                              <p:par>
                                <p:cTn id="8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8" presetClass="emph" presetSubtype="0" repeatCount="indefinite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102" dur="50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0" grpId="0" animBg="1"/>
      <p:bldP spid="61" grpId="0" animBg="1"/>
      <p:bldP spid="71" grpId="0" animBg="1"/>
      <p:bldP spid="71" grpId="1" animBg="1"/>
      <p:bldP spid="72" grpId="0" animBg="1"/>
      <p:bldP spid="68" grpId="0" animBg="1"/>
      <p:bldP spid="68" grpId="1" animBg="1"/>
      <p:bldP spid="51" grpId="0" animBg="1"/>
      <p:bldP spid="77" grpId="0" animBg="1"/>
      <p:bldP spid="77" grpId="1" animBg="1"/>
      <p:bldP spid="78" grpId="0" animBg="1"/>
      <p:bldP spid="83" grpId="0" animBg="1"/>
      <p:bldP spid="83" grpId="1" animBg="1"/>
      <p:bldP spid="84" grpId="0" animBg="1"/>
      <p:bldP spid="92" grpId="0" animBg="1"/>
      <p:bldP spid="92" grpId="1" animBg="1"/>
      <p:bldP spid="93" grpId="0" animBg="1"/>
      <p:bldP spid="95" grpId="0" animBg="1"/>
      <p:bldP spid="95" grpId="1" animBg="1"/>
      <p:bldP spid="96" grpId="0" animBg="1"/>
      <p:bldP spid="97" grpId="0" animBg="1"/>
      <p:bldP spid="98" grpId="0" animBg="1"/>
      <p:bldP spid="101" grpId="0" animBg="1"/>
      <p:bldP spid="102" grpId="0" animBg="1"/>
      <p:bldP spid="107" grpId="0" animBg="1"/>
      <p:bldP spid="108" grpId="0" animBg="1"/>
      <p:bldP spid="109" grpId="0" animBg="1"/>
      <p:bldP spid="110" grpId="0" animBg="1"/>
      <p:bldP spid="111" grpId="0" animBg="1"/>
      <p:bldP spid="112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pour une image  1"/>
          <p:cNvSpPr>
            <a:spLocks noGrp="1"/>
          </p:cNvSpPr>
          <p:nvPr>
            <p:ph type="pic" sz="quarter" idx="22"/>
          </p:nvPr>
        </p:nvSpPr>
        <p:spPr>
          <a:xfrm>
            <a:off x="766815" y="3404340"/>
            <a:ext cx="5184576" cy="2688956"/>
          </a:xfrm>
        </p:spPr>
      </p:sp>
      <p:sp>
        <p:nvSpPr>
          <p:cNvPr id="18" name="Espace réservé pour une image  3"/>
          <p:cNvSpPr>
            <a:spLocks noGrp="1"/>
          </p:cNvSpPr>
          <p:nvPr>
            <p:ph type="pic" sz="quarter" idx="22"/>
          </p:nvPr>
        </p:nvSpPr>
        <p:spPr>
          <a:xfrm>
            <a:off x="6357940" y="3404340"/>
            <a:ext cx="5184576" cy="2695232"/>
          </a:xfrm>
        </p:spPr>
      </p:sp>
      <p:graphicFrame>
        <p:nvGraphicFramePr>
          <p:cNvPr id="105" name="Object 104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3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105" name="Object 104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Text Placeholder 2"/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775703" y="1513447"/>
            <a:ext cx="4950282" cy="864000"/>
          </a:xfrm>
          <a:prstGeom prst="rect">
            <a:avLst/>
          </a:prstGeom>
          <a:noFill/>
          <a:ln>
            <a:noFill/>
          </a:ln>
        </p:spPr>
        <p:txBody>
          <a:bodyPr vert="horz" lIns="7200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300"/>
              </a:spcAft>
              <a:buClr>
                <a:srgbClr val="52328F"/>
              </a:buClr>
              <a:buFont typeface="Wingdings" panose="05000000000000000000" pitchFamily="2" charset="2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  <a:buFont typeface="Wingdings" panose="05000000000000000000" pitchFamily="2" charset="2"/>
              <a:buChar char="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  <a:buSzPct val="100000"/>
              <a:buFont typeface="Symbol" panose="05050102010706020507" pitchFamily="18" charset="2"/>
              <a:buChar char="-"/>
              <a:defRPr lang="en-US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>
                <a:srgbClr val="28BECD"/>
              </a:buClr>
              <a:buSzPct val="100000"/>
              <a:buFont typeface="Symbol" panose="05050102010706020507" pitchFamily="18" charset="2"/>
              <a:buChar char="-"/>
              <a:defRPr lang="en-US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>
                <a:srgbClr val="28BECD"/>
              </a:buClr>
              <a:buSzPct val="100000"/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>
                <a:srgbClr val="28BECD"/>
              </a:buClr>
              <a:buSzPct val="100000"/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0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>
                <a:srgbClr val="28BECD"/>
              </a:buClr>
              <a:buSzPct val="100000"/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0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>
                <a:srgbClr val="28BECD"/>
              </a:buClr>
              <a:buSzPct val="100000"/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0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>
                <a:srgbClr val="28BECD"/>
              </a:buClr>
              <a:buSzPct val="100000"/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400"/>
              </a:spcAft>
              <a:buClr>
                <a:srgbClr val="503291"/>
              </a:buClr>
            </a:pPr>
            <a:r>
              <a:rPr lang="fr-CH" sz="1600" b="1" dirty="0" smtClean="0">
                <a:solidFill>
                  <a:schemeClr val="accent1"/>
                </a:solidFill>
              </a:rPr>
              <a:t>titre</a:t>
            </a:r>
            <a:endParaRPr lang="fr-CH" sz="1600" b="1" dirty="0">
              <a:solidFill>
                <a:schemeClr val="accent1"/>
              </a:solidFill>
            </a:endParaRPr>
          </a:p>
          <a:p>
            <a:pPr lvl="1">
              <a:spcBef>
                <a:spcPts val="0"/>
              </a:spcBef>
              <a:spcAft>
                <a:spcPts val="400"/>
              </a:spcAft>
              <a:buClr>
                <a:srgbClr val="503291"/>
              </a:buClr>
              <a:buFont typeface="Wingdings" panose="05000000000000000000" pitchFamily="2" charset="2"/>
              <a:buChar char=""/>
            </a:pPr>
            <a:r>
              <a:rPr lang="fr-CH" sz="1600" dirty="0" smtClean="0"/>
              <a:t>points</a:t>
            </a:r>
            <a:endParaRPr lang="fr-CH" sz="1600" dirty="0"/>
          </a:p>
        </p:txBody>
      </p:sp>
      <p:cxnSp>
        <p:nvCxnSpPr>
          <p:cNvPr id="48" name="Straight Connector 47"/>
          <p:cNvCxnSpPr/>
          <p:nvPr>
            <p:custDataLst>
              <p:tags r:id="rId5"/>
            </p:custDataLst>
          </p:nvPr>
        </p:nvCxnSpPr>
        <p:spPr bwMode="gray">
          <a:xfrm flipV="1">
            <a:off x="766815" y="1513447"/>
            <a:ext cx="0" cy="226800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 Placeholder 2"/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6357941" y="1420544"/>
            <a:ext cx="4968058" cy="864000"/>
          </a:xfrm>
          <a:prstGeom prst="rect">
            <a:avLst/>
          </a:prstGeom>
          <a:noFill/>
          <a:ln>
            <a:noFill/>
          </a:ln>
        </p:spPr>
        <p:txBody>
          <a:bodyPr vert="horz" lIns="7200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300"/>
              </a:spcAft>
              <a:buClr>
                <a:srgbClr val="52328F"/>
              </a:buClr>
              <a:buFont typeface="Wingdings" panose="05000000000000000000" pitchFamily="2" charset="2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  <a:buFont typeface="Wingdings" panose="05000000000000000000" pitchFamily="2" charset="2"/>
              <a:buChar char="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  <a:buSzPct val="100000"/>
              <a:buFont typeface="Symbol" panose="05050102010706020507" pitchFamily="18" charset="2"/>
              <a:buChar char="-"/>
              <a:defRPr lang="en-US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>
                <a:srgbClr val="28BECD"/>
              </a:buClr>
              <a:buSzPct val="100000"/>
              <a:buFont typeface="Symbol" panose="05050102010706020507" pitchFamily="18" charset="2"/>
              <a:buChar char="-"/>
              <a:defRPr lang="en-US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>
                <a:srgbClr val="28BECD"/>
              </a:buClr>
              <a:buSzPct val="100000"/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>
                <a:srgbClr val="28BECD"/>
              </a:buClr>
              <a:buSzPct val="100000"/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0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>
                <a:srgbClr val="28BECD"/>
              </a:buClr>
              <a:buSzPct val="100000"/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0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>
                <a:srgbClr val="28BECD"/>
              </a:buClr>
              <a:buSzPct val="100000"/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0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>
                <a:srgbClr val="28BECD"/>
              </a:buClr>
              <a:buSzPct val="100000"/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400"/>
              </a:spcAft>
              <a:buClr>
                <a:srgbClr val="503291"/>
              </a:buClr>
            </a:pPr>
            <a:r>
              <a:rPr lang="fr-CH" sz="1600" b="1" dirty="0" smtClean="0">
                <a:solidFill>
                  <a:schemeClr val="accent1"/>
                </a:solidFill>
              </a:rPr>
              <a:t>tire</a:t>
            </a:r>
            <a:endParaRPr lang="fr-CH" sz="1600" b="1" dirty="0">
              <a:solidFill>
                <a:schemeClr val="accent1"/>
              </a:solidFill>
            </a:endParaRPr>
          </a:p>
          <a:p>
            <a:pPr lvl="1">
              <a:spcBef>
                <a:spcPts val="0"/>
              </a:spcBef>
              <a:spcAft>
                <a:spcPts val="400"/>
              </a:spcAft>
              <a:buClr>
                <a:srgbClr val="503291"/>
              </a:buClr>
              <a:buFont typeface="Wingdings" panose="05000000000000000000" pitchFamily="2" charset="2"/>
              <a:buChar char=""/>
            </a:pPr>
            <a:r>
              <a:rPr lang="fr-CH" sz="1600" dirty="0" smtClean="0"/>
              <a:t>points</a:t>
            </a:r>
            <a:endParaRPr lang="fr-CH" sz="1600" dirty="0"/>
          </a:p>
        </p:txBody>
      </p:sp>
      <p:cxnSp>
        <p:nvCxnSpPr>
          <p:cNvPr id="50" name="Straight Connector 48"/>
          <p:cNvCxnSpPr/>
          <p:nvPr>
            <p:custDataLst>
              <p:tags r:id="rId7"/>
            </p:custDataLst>
          </p:nvPr>
        </p:nvCxnSpPr>
        <p:spPr bwMode="gray">
          <a:xfrm flipV="1">
            <a:off x="6357941" y="1513447"/>
            <a:ext cx="0" cy="226800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11"/>
          <p:cNvSpPr>
            <a:spLocks noGrp="1"/>
          </p:cNvSpPr>
          <p:nvPr>
            <p:ph type="body" sz="quarter" idx="17"/>
            <p:custDataLst>
              <p:tags r:id="rId8"/>
            </p:custDataLst>
          </p:nvPr>
        </p:nvSpPr>
        <p:spPr>
          <a:xfrm>
            <a:off x="532018" y="3055642"/>
            <a:ext cx="1114922" cy="725806"/>
          </a:xfrm>
        </p:spPr>
        <p:txBody>
          <a:bodyPr/>
          <a:lstStyle/>
          <a:p>
            <a:r>
              <a:rPr lang="fr-CH" dirty="0">
                <a:latin typeface="Arial Black" panose="020B0A04020102020204" pitchFamily="34" charset="0"/>
              </a:rPr>
              <a:t>01</a:t>
            </a:r>
          </a:p>
        </p:txBody>
      </p:sp>
      <p:sp>
        <p:nvSpPr>
          <p:cNvPr id="14" name="Textplatzhalter 11"/>
          <p:cNvSpPr>
            <a:spLocks noGrp="1"/>
          </p:cNvSpPr>
          <p:nvPr>
            <p:ph type="body" sz="quarter" idx="17"/>
            <p:custDataLst>
              <p:tags r:id="rId9"/>
            </p:custDataLst>
          </p:nvPr>
        </p:nvSpPr>
        <p:spPr>
          <a:xfrm>
            <a:off x="6168008" y="3055641"/>
            <a:ext cx="1114922" cy="697399"/>
          </a:xfrm>
        </p:spPr>
        <p:txBody>
          <a:bodyPr/>
          <a:lstStyle/>
          <a:p>
            <a:r>
              <a:rPr lang="fr-CH" dirty="0">
                <a:latin typeface="Arial Black" panose="020B0A04020102020204" pitchFamily="34" charset="0"/>
              </a:rPr>
              <a:t>02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1666479" y="6352790"/>
            <a:ext cx="4187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CH" b="1" dirty="0">
                <a:solidFill>
                  <a:schemeClr val="accent1"/>
                </a:solidFill>
              </a:rPr>
              <a:t>07</a:t>
            </a:r>
            <a:endParaRPr lang="fr-CH" dirty="0"/>
          </a:p>
        </p:txBody>
      </p:sp>
      <p:sp>
        <p:nvSpPr>
          <p:cNvPr id="20" name="Freeform 115"/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10612837" y="6445134"/>
            <a:ext cx="943316" cy="304081"/>
          </a:xfrm>
          <a:custGeom>
            <a:avLst/>
            <a:gdLst>
              <a:gd name="T0" fmla="*/ 165 w 165"/>
              <a:gd name="T1" fmla="*/ 25 h 45"/>
              <a:gd name="T2" fmla="*/ 165 w 165"/>
              <a:gd name="T3" fmla="*/ 41 h 45"/>
              <a:gd name="T4" fmla="*/ 160 w 165"/>
              <a:gd name="T5" fmla="*/ 45 h 45"/>
              <a:gd name="T6" fmla="*/ 25 w 165"/>
              <a:gd name="T7" fmla="*/ 45 h 45"/>
              <a:gd name="T8" fmla="*/ 7 w 165"/>
              <a:gd name="T9" fmla="*/ 38 h 45"/>
              <a:gd name="T10" fmla="*/ 0 w 165"/>
              <a:gd name="T11" fmla="*/ 19 h 45"/>
              <a:gd name="T12" fmla="*/ 0 w 165"/>
              <a:gd name="T13" fmla="*/ 4 h 45"/>
              <a:gd name="T14" fmla="*/ 4 w 165"/>
              <a:gd name="T15" fmla="*/ 0 h 45"/>
              <a:gd name="T16" fmla="*/ 139 w 165"/>
              <a:gd name="T17" fmla="*/ 0 h 45"/>
              <a:gd name="T18" fmla="*/ 158 w 165"/>
              <a:gd name="T19" fmla="*/ 7 h 45"/>
              <a:gd name="T20" fmla="*/ 165 w 165"/>
              <a:gd name="T21" fmla="*/ 25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65" h="45">
                <a:moveTo>
                  <a:pt x="165" y="25"/>
                </a:moveTo>
                <a:cubicBezTo>
                  <a:pt x="165" y="41"/>
                  <a:pt x="165" y="41"/>
                  <a:pt x="165" y="41"/>
                </a:cubicBezTo>
                <a:cubicBezTo>
                  <a:pt x="165" y="44"/>
                  <a:pt x="163" y="45"/>
                  <a:pt x="160" y="45"/>
                </a:cubicBezTo>
                <a:cubicBezTo>
                  <a:pt x="25" y="45"/>
                  <a:pt x="25" y="45"/>
                  <a:pt x="25" y="45"/>
                </a:cubicBezTo>
                <a:cubicBezTo>
                  <a:pt x="17" y="45"/>
                  <a:pt x="11" y="43"/>
                  <a:pt x="7" y="38"/>
                </a:cubicBezTo>
                <a:cubicBezTo>
                  <a:pt x="2" y="34"/>
                  <a:pt x="0" y="28"/>
                  <a:pt x="0" y="19"/>
                </a:cubicBezTo>
                <a:cubicBezTo>
                  <a:pt x="0" y="4"/>
                  <a:pt x="0" y="4"/>
                  <a:pt x="0" y="4"/>
                </a:cubicBezTo>
                <a:cubicBezTo>
                  <a:pt x="0" y="1"/>
                  <a:pt x="1" y="0"/>
                  <a:pt x="4" y="0"/>
                </a:cubicBezTo>
                <a:cubicBezTo>
                  <a:pt x="139" y="0"/>
                  <a:pt x="139" y="0"/>
                  <a:pt x="139" y="0"/>
                </a:cubicBezTo>
                <a:cubicBezTo>
                  <a:pt x="147" y="0"/>
                  <a:pt x="153" y="2"/>
                  <a:pt x="158" y="7"/>
                </a:cubicBezTo>
                <a:cubicBezTo>
                  <a:pt x="162" y="11"/>
                  <a:pt x="165" y="17"/>
                  <a:pt x="165" y="25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 sz="1100" dirty="0"/>
              <a:t>Introduction</a:t>
            </a:r>
            <a:endParaRPr lang="fr-CH" sz="1100" dirty="0"/>
          </a:p>
        </p:txBody>
      </p:sp>
      <p:sp>
        <p:nvSpPr>
          <p:cNvPr id="23" name="Title 5"/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 bwMode="gray">
          <a:xfrm>
            <a:off x="623888" y="730800"/>
            <a:ext cx="10944225" cy="325952"/>
          </a:xfrm>
        </p:spPr>
        <p:txBody>
          <a:bodyPr>
            <a:normAutofit fontScale="90000"/>
          </a:bodyPr>
          <a:lstStyle/>
          <a:p>
            <a:r>
              <a:rPr lang="fr-CH" dirty="0" smtClean="0"/>
              <a:t>Titre</a:t>
            </a:r>
            <a:endParaRPr lang="fr-FR" dirty="0"/>
          </a:p>
        </p:txBody>
      </p:sp>
      <p:sp>
        <p:nvSpPr>
          <p:cNvPr id="25" name="ZoneTexte 24">
            <a:extLst>
              <a:ext uri="{FF2B5EF4-FFF2-40B4-BE49-F238E27FC236}">
                <a16:creationId xmlns:a16="http://schemas.microsoft.com/office/drawing/2014/main" id="{E32D746F-9A2D-4398-BE1E-3699C34DCB73}"/>
              </a:ext>
            </a:extLst>
          </p:cNvPr>
          <p:cNvSpPr txBox="1"/>
          <p:nvPr/>
        </p:nvSpPr>
        <p:spPr>
          <a:xfrm>
            <a:off x="6916849" y="539833"/>
            <a:ext cx="457925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CH" sz="4000" i="1" dirty="0" smtClean="0">
                <a:solidFill>
                  <a:srgbClr val="FFC000"/>
                </a:solidFill>
                <a:latin typeface="Arial Black" panose="020B0A04020102020204" pitchFamily="34" charset="0"/>
              </a:rPr>
              <a:t>Partie</a:t>
            </a:r>
            <a:endParaRPr lang="fr-CH" sz="4000" i="1" dirty="0">
              <a:solidFill>
                <a:srgbClr val="FFC000"/>
              </a:solidFill>
              <a:latin typeface="Arial Black" panose="020B0A0402010202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3152861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2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2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25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/>
      <p:bldP spid="46" grpId="0"/>
      <p:bldP spid="12" grpId="0" build="p" animBg="1"/>
      <p:bldP spid="14" grpId="0" build="p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4">
            <a:extLst>
              <a:ext uri="{FF2B5EF4-FFF2-40B4-BE49-F238E27FC236}">
                <a16:creationId xmlns:a16="http://schemas.microsoft.com/office/drawing/2014/main" id="{B47AF3AB-AA44-4565-9504-4A0E2B9C2FF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623888" y="730800"/>
            <a:ext cx="10944225" cy="325952"/>
          </a:xfrm>
        </p:spPr>
        <p:txBody>
          <a:bodyPr>
            <a:normAutofit fontScale="90000"/>
          </a:bodyPr>
          <a:lstStyle/>
          <a:p>
            <a:r>
              <a:rPr lang="fr-CH" dirty="0"/>
              <a:t>Objectif / Description</a:t>
            </a:r>
            <a:endParaRPr lang="en-US" dirty="0"/>
          </a:p>
        </p:txBody>
      </p:sp>
      <p:sp>
        <p:nvSpPr>
          <p:cNvPr id="14" name="Freeform 6">
            <a:extLst>
              <a:ext uri="{FF2B5EF4-FFF2-40B4-BE49-F238E27FC236}">
                <a16:creationId xmlns:a16="http://schemas.microsoft.com/office/drawing/2014/main" id="{87EF48CC-017C-4348-B2DA-F3AF8E0FB6EF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 bwMode="gray">
          <a:xfrm rot="5400000">
            <a:off x="1963014" y="1439985"/>
            <a:ext cx="1225230" cy="1473841"/>
          </a:xfrm>
          <a:custGeom>
            <a:avLst/>
            <a:gdLst>
              <a:gd name="T0" fmla="*/ 831 w 1046"/>
              <a:gd name="T1" fmla="*/ 1239 h 1258"/>
              <a:gd name="T2" fmla="*/ 927 w 1046"/>
              <a:gd name="T3" fmla="*/ 1185 h 1258"/>
              <a:gd name="T4" fmla="*/ 1046 w 1046"/>
              <a:gd name="T5" fmla="*/ 284 h 1258"/>
              <a:gd name="T6" fmla="*/ 957 w 1046"/>
              <a:gd name="T7" fmla="*/ 208 h 1258"/>
              <a:gd name="T8" fmla="*/ 82 w 1046"/>
              <a:gd name="T9" fmla="*/ 15 h 1258"/>
              <a:gd name="T10" fmla="*/ 10 w 1046"/>
              <a:gd name="T11" fmla="*/ 102 h 1258"/>
              <a:gd name="T12" fmla="*/ 212 w 1046"/>
              <a:gd name="T13" fmla="*/ 1000 h 1258"/>
              <a:gd name="T14" fmla="*/ 325 w 1046"/>
              <a:gd name="T15" fmla="*/ 1108 h 12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046" h="1258">
                <a:moveTo>
                  <a:pt x="831" y="1239"/>
                </a:moveTo>
                <a:cubicBezTo>
                  <a:pt x="917" y="1258"/>
                  <a:pt x="926" y="1190"/>
                  <a:pt x="927" y="1185"/>
                </a:cubicBezTo>
                <a:cubicBezTo>
                  <a:pt x="1046" y="284"/>
                  <a:pt x="1046" y="284"/>
                  <a:pt x="1046" y="284"/>
                </a:cubicBezTo>
                <a:cubicBezTo>
                  <a:pt x="1041" y="247"/>
                  <a:pt x="1004" y="214"/>
                  <a:pt x="957" y="208"/>
                </a:cubicBezTo>
                <a:cubicBezTo>
                  <a:pt x="82" y="15"/>
                  <a:pt x="82" y="15"/>
                  <a:pt x="82" y="15"/>
                </a:cubicBezTo>
                <a:cubicBezTo>
                  <a:pt x="30" y="0"/>
                  <a:pt x="0" y="58"/>
                  <a:pt x="10" y="102"/>
                </a:cubicBezTo>
                <a:cubicBezTo>
                  <a:pt x="212" y="1000"/>
                  <a:pt x="212" y="1000"/>
                  <a:pt x="212" y="1000"/>
                </a:cubicBezTo>
                <a:cubicBezTo>
                  <a:pt x="222" y="1044"/>
                  <a:pt x="273" y="1092"/>
                  <a:pt x="325" y="1108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vert270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CH" sz="4400" dirty="0">
                <a:solidFill>
                  <a:schemeClr val="accent4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7" name="Freeform 10">
            <a:extLst>
              <a:ext uri="{FF2B5EF4-FFF2-40B4-BE49-F238E27FC236}">
                <a16:creationId xmlns:a16="http://schemas.microsoft.com/office/drawing/2014/main" id="{C3685A46-49D2-4408-96F3-F933F9B61F75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gray">
          <a:xfrm rot="5400000">
            <a:off x="1851583" y="4068657"/>
            <a:ext cx="1240087" cy="1265839"/>
          </a:xfrm>
          <a:custGeom>
            <a:avLst/>
            <a:gdLst>
              <a:gd name="T0" fmla="*/ 855 w 1059"/>
              <a:gd name="T1" fmla="*/ 90 h 1081"/>
              <a:gd name="T2" fmla="*/ 783 w 1059"/>
              <a:gd name="T3" fmla="*/ 1 h 1081"/>
              <a:gd name="T4" fmla="*/ 186 w 1059"/>
              <a:gd name="T5" fmla="*/ 10 h 1081"/>
              <a:gd name="T6" fmla="*/ 115 w 1059"/>
              <a:gd name="T7" fmla="*/ 65 h 1081"/>
              <a:gd name="T8" fmla="*/ 0 w 1059"/>
              <a:gd name="T9" fmla="*/ 938 h 1081"/>
              <a:gd name="T10" fmla="*/ 62 w 1059"/>
              <a:gd name="T11" fmla="*/ 1009 h 1081"/>
              <a:gd name="T12" fmla="*/ 646 w 1059"/>
              <a:gd name="T13" fmla="*/ 1076 h 1081"/>
              <a:gd name="T14" fmla="*/ 903 w 1059"/>
              <a:gd name="T15" fmla="*/ 1024 h 1081"/>
              <a:gd name="T16" fmla="*/ 1027 w 1059"/>
              <a:gd name="T17" fmla="*/ 908 h 10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059" h="1081">
                <a:moveTo>
                  <a:pt x="855" y="90"/>
                </a:moveTo>
                <a:cubicBezTo>
                  <a:pt x="849" y="49"/>
                  <a:pt x="830" y="0"/>
                  <a:pt x="783" y="1"/>
                </a:cubicBezTo>
                <a:cubicBezTo>
                  <a:pt x="783" y="1"/>
                  <a:pt x="223" y="9"/>
                  <a:pt x="186" y="10"/>
                </a:cubicBezTo>
                <a:cubicBezTo>
                  <a:pt x="149" y="11"/>
                  <a:pt x="116" y="60"/>
                  <a:pt x="115" y="65"/>
                </a:cubicBezTo>
                <a:cubicBezTo>
                  <a:pt x="0" y="938"/>
                  <a:pt x="0" y="938"/>
                  <a:pt x="0" y="938"/>
                </a:cubicBezTo>
                <a:cubicBezTo>
                  <a:pt x="3" y="974"/>
                  <a:pt x="28" y="1004"/>
                  <a:pt x="62" y="1009"/>
                </a:cubicBezTo>
                <a:cubicBezTo>
                  <a:pt x="646" y="1076"/>
                  <a:pt x="646" y="1076"/>
                  <a:pt x="646" y="1076"/>
                </a:cubicBezTo>
                <a:cubicBezTo>
                  <a:pt x="685" y="1081"/>
                  <a:pt x="823" y="1048"/>
                  <a:pt x="903" y="1024"/>
                </a:cubicBezTo>
                <a:cubicBezTo>
                  <a:pt x="983" y="1000"/>
                  <a:pt x="1059" y="1006"/>
                  <a:pt x="1027" y="908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vert270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CH" sz="4400" dirty="0">
                <a:solidFill>
                  <a:schemeClr val="accent4"/>
                </a:solidFill>
                <a:latin typeface="Arial Black" panose="020B0A04020102020204" pitchFamily="34" charset="0"/>
              </a:rPr>
              <a:t>3</a:t>
            </a:r>
          </a:p>
        </p:txBody>
      </p:sp>
      <p:grpSp>
        <p:nvGrpSpPr>
          <p:cNvPr id="21" name="Groupe 20">
            <a:extLst>
              <a:ext uri="{FF2B5EF4-FFF2-40B4-BE49-F238E27FC236}">
                <a16:creationId xmlns:a16="http://schemas.microsoft.com/office/drawing/2014/main" id="{6935CDB7-2DD1-4C5A-B40F-23468B750139}"/>
              </a:ext>
            </a:extLst>
          </p:cNvPr>
          <p:cNvGrpSpPr/>
          <p:nvPr/>
        </p:nvGrpSpPr>
        <p:grpSpPr>
          <a:xfrm>
            <a:off x="8298043" y="2954109"/>
            <a:ext cx="1247587" cy="962836"/>
            <a:chOff x="7147008" y="2888710"/>
            <a:chExt cx="1247587" cy="962836"/>
          </a:xfrm>
        </p:grpSpPr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id="{6919D919-13A6-42D4-986E-7A96D9DC8845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gray">
            <a:xfrm rot="16200000">
              <a:off x="7289384" y="2746334"/>
              <a:ext cx="962836" cy="1247587"/>
            </a:xfrm>
            <a:custGeom>
              <a:avLst/>
              <a:gdLst>
                <a:gd name="T0" fmla="*/ 413 w 765"/>
                <a:gd name="T1" fmla="*/ 0 h 991"/>
                <a:gd name="T2" fmla="*/ 719 w 765"/>
                <a:gd name="T3" fmla="*/ 150 h 991"/>
                <a:gd name="T4" fmla="*/ 765 w 765"/>
                <a:gd name="T5" fmla="*/ 233 h 991"/>
                <a:gd name="T6" fmla="*/ 765 w 765"/>
                <a:gd name="T7" fmla="*/ 931 h 991"/>
                <a:gd name="T8" fmla="*/ 718 w 765"/>
                <a:gd name="T9" fmla="*/ 985 h 991"/>
                <a:gd name="T10" fmla="*/ 47 w 765"/>
                <a:gd name="T11" fmla="*/ 830 h 991"/>
                <a:gd name="T12" fmla="*/ 0 w 765"/>
                <a:gd name="T13" fmla="*/ 755 h 991"/>
                <a:gd name="T14" fmla="*/ 0 w 765"/>
                <a:gd name="T15" fmla="*/ 366 h 991"/>
                <a:gd name="T16" fmla="*/ 41 w 765"/>
                <a:gd name="T17" fmla="*/ 268 h 991"/>
                <a:gd name="T18" fmla="*/ 413 w 765"/>
                <a:gd name="T19" fmla="*/ 0 h 9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65" h="991">
                  <a:moveTo>
                    <a:pt x="413" y="0"/>
                  </a:moveTo>
                  <a:cubicBezTo>
                    <a:pt x="486" y="0"/>
                    <a:pt x="719" y="150"/>
                    <a:pt x="719" y="150"/>
                  </a:cubicBezTo>
                  <a:cubicBezTo>
                    <a:pt x="744" y="160"/>
                    <a:pt x="765" y="198"/>
                    <a:pt x="765" y="233"/>
                  </a:cubicBezTo>
                  <a:cubicBezTo>
                    <a:pt x="765" y="931"/>
                    <a:pt x="765" y="931"/>
                    <a:pt x="765" y="931"/>
                  </a:cubicBezTo>
                  <a:cubicBezTo>
                    <a:pt x="765" y="966"/>
                    <a:pt x="744" y="991"/>
                    <a:pt x="718" y="985"/>
                  </a:cubicBezTo>
                  <a:cubicBezTo>
                    <a:pt x="47" y="830"/>
                    <a:pt x="47" y="830"/>
                    <a:pt x="47" y="830"/>
                  </a:cubicBezTo>
                  <a:cubicBezTo>
                    <a:pt x="21" y="824"/>
                    <a:pt x="0" y="791"/>
                    <a:pt x="0" y="755"/>
                  </a:cubicBezTo>
                  <a:cubicBezTo>
                    <a:pt x="0" y="366"/>
                    <a:pt x="0" y="366"/>
                    <a:pt x="0" y="366"/>
                  </a:cubicBezTo>
                  <a:cubicBezTo>
                    <a:pt x="0" y="330"/>
                    <a:pt x="19" y="286"/>
                    <a:pt x="41" y="268"/>
                  </a:cubicBezTo>
                  <a:cubicBezTo>
                    <a:pt x="41" y="268"/>
                    <a:pt x="349" y="0"/>
                    <a:pt x="413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vert270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fr-CH" sz="4400" dirty="0">
                <a:solidFill>
                  <a:schemeClr val="accent4"/>
                </a:solidFill>
                <a:latin typeface="Arial Black" panose="020B0A04020102020204" pitchFamily="34" charset="0"/>
              </a:endParaRPr>
            </a:p>
          </p:txBody>
        </p:sp>
        <p:sp>
          <p:nvSpPr>
            <p:cNvPr id="20" name="ZoneTexte 19">
              <a:extLst>
                <a:ext uri="{FF2B5EF4-FFF2-40B4-BE49-F238E27FC236}">
                  <a16:creationId xmlns:a16="http://schemas.microsoft.com/office/drawing/2014/main" id="{5A141585-C38D-46BE-8462-3C477C0F371D}"/>
                </a:ext>
              </a:extLst>
            </p:cNvPr>
            <p:cNvSpPr txBox="1"/>
            <p:nvPr/>
          </p:nvSpPr>
          <p:spPr>
            <a:xfrm>
              <a:off x="7575966" y="2984245"/>
              <a:ext cx="561372" cy="769441"/>
            </a:xfrm>
            <a:prstGeom prst="rect">
              <a:avLst/>
            </a:prstGeom>
          </p:spPr>
          <p:txBody>
            <a:bodyPr wrap="none" rtlCol="0">
              <a:spAutoFit/>
            </a:bodyPr>
            <a:lstStyle/>
            <a:p>
              <a:r>
                <a:rPr lang="fr-CH" sz="4400" dirty="0">
                  <a:solidFill>
                    <a:schemeClr val="accent4"/>
                  </a:solidFill>
                  <a:latin typeface="Arial Black" panose="020B0A04020102020204" pitchFamily="34" charset="0"/>
                </a:rPr>
                <a:t>2</a:t>
              </a:r>
            </a:p>
          </p:txBody>
        </p:sp>
      </p:grpSp>
      <p:cxnSp>
        <p:nvCxnSpPr>
          <p:cNvPr id="24" name="Connecteur droit 23">
            <a:extLst>
              <a:ext uri="{FF2B5EF4-FFF2-40B4-BE49-F238E27FC236}">
                <a16:creationId xmlns:a16="http://schemas.microsoft.com/office/drawing/2014/main" id="{816BCD6C-D7FE-4EC7-A351-C5435F0A3190}"/>
              </a:ext>
            </a:extLst>
          </p:cNvPr>
          <p:cNvCxnSpPr>
            <a:cxnSpLocks/>
          </p:cNvCxnSpPr>
          <p:nvPr/>
        </p:nvCxnSpPr>
        <p:spPr>
          <a:xfrm flipH="1">
            <a:off x="3464951" y="2789521"/>
            <a:ext cx="4587228" cy="0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necteur droit 25">
            <a:extLst>
              <a:ext uri="{FF2B5EF4-FFF2-40B4-BE49-F238E27FC236}">
                <a16:creationId xmlns:a16="http://schemas.microsoft.com/office/drawing/2014/main" id="{D1EE273F-A1AF-4400-9093-A7B689B09B3D}"/>
              </a:ext>
            </a:extLst>
          </p:cNvPr>
          <p:cNvCxnSpPr>
            <a:cxnSpLocks/>
          </p:cNvCxnSpPr>
          <p:nvPr/>
        </p:nvCxnSpPr>
        <p:spPr>
          <a:xfrm flipH="1">
            <a:off x="3464951" y="3903260"/>
            <a:ext cx="4587228" cy="0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necteur droit 26">
            <a:extLst>
              <a:ext uri="{FF2B5EF4-FFF2-40B4-BE49-F238E27FC236}">
                <a16:creationId xmlns:a16="http://schemas.microsoft.com/office/drawing/2014/main" id="{0AC2711E-EA3D-4F95-98DE-D3612D9E19DB}"/>
              </a:ext>
            </a:extLst>
          </p:cNvPr>
          <p:cNvCxnSpPr>
            <a:cxnSpLocks/>
          </p:cNvCxnSpPr>
          <p:nvPr/>
        </p:nvCxnSpPr>
        <p:spPr>
          <a:xfrm flipH="1">
            <a:off x="3464951" y="5018130"/>
            <a:ext cx="4587228" cy="0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ZoneTexte 28">
            <a:extLst>
              <a:ext uri="{FF2B5EF4-FFF2-40B4-BE49-F238E27FC236}">
                <a16:creationId xmlns:a16="http://schemas.microsoft.com/office/drawing/2014/main" id="{539F6354-7ACA-4E26-B116-86D9EEAEE7CA}"/>
              </a:ext>
            </a:extLst>
          </p:cNvPr>
          <p:cNvSpPr txBox="1"/>
          <p:nvPr/>
        </p:nvSpPr>
        <p:spPr>
          <a:xfrm>
            <a:off x="4355909" y="2176906"/>
            <a:ext cx="369626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H" sz="4400" dirty="0">
                <a:solidFill>
                  <a:srgbClr val="5B9BD5"/>
                </a:solidFill>
                <a:latin typeface="Arial Black" panose="020B0A04020102020204" pitchFamily="34" charset="0"/>
              </a:rPr>
              <a:t>Compter</a:t>
            </a:r>
          </a:p>
        </p:txBody>
      </p:sp>
      <p:sp>
        <p:nvSpPr>
          <p:cNvPr id="30" name="ZoneTexte 29">
            <a:extLst>
              <a:ext uri="{FF2B5EF4-FFF2-40B4-BE49-F238E27FC236}">
                <a16:creationId xmlns:a16="http://schemas.microsoft.com/office/drawing/2014/main" id="{C856CB66-081A-487E-BBB1-703E0EC83A3B}"/>
              </a:ext>
            </a:extLst>
          </p:cNvPr>
          <p:cNvSpPr txBox="1"/>
          <p:nvPr/>
        </p:nvSpPr>
        <p:spPr>
          <a:xfrm>
            <a:off x="4355910" y="3291775"/>
            <a:ext cx="348017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H" sz="4400" dirty="0">
                <a:solidFill>
                  <a:srgbClr val="5B9BD5"/>
                </a:solidFill>
                <a:latin typeface="Arial Black" panose="020B0A04020102020204" pitchFamily="34" charset="0"/>
              </a:rPr>
              <a:t>Connaître</a:t>
            </a:r>
          </a:p>
        </p:txBody>
      </p:sp>
      <p:sp>
        <p:nvSpPr>
          <p:cNvPr id="31" name="ZoneTexte 30">
            <a:extLst>
              <a:ext uri="{FF2B5EF4-FFF2-40B4-BE49-F238E27FC236}">
                <a16:creationId xmlns:a16="http://schemas.microsoft.com/office/drawing/2014/main" id="{F22A2574-2673-45FA-A592-302E2144B5B2}"/>
              </a:ext>
            </a:extLst>
          </p:cNvPr>
          <p:cNvSpPr txBox="1"/>
          <p:nvPr/>
        </p:nvSpPr>
        <p:spPr>
          <a:xfrm>
            <a:off x="4355909" y="4413651"/>
            <a:ext cx="369627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H" sz="4400" dirty="0">
                <a:solidFill>
                  <a:srgbClr val="5B9BD5"/>
                </a:solidFill>
                <a:latin typeface="Arial Black" panose="020B0A04020102020204" pitchFamily="34" charset="0"/>
              </a:rPr>
              <a:t>Placer</a:t>
            </a:r>
          </a:p>
        </p:txBody>
      </p:sp>
      <p:sp>
        <p:nvSpPr>
          <p:cNvPr id="40" name="TextBox 16">
            <a:extLst>
              <a:ext uri="{FF2B5EF4-FFF2-40B4-BE49-F238E27FC236}">
                <a16:creationId xmlns:a16="http://schemas.microsoft.com/office/drawing/2014/main" id="{A593288F-06C0-4F23-A02D-306299148FFE}"/>
              </a:ext>
            </a:extLst>
          </p:cNvPr>
          <p:cNvSpPr txBox="1"/>
          <p:nvPr/>
        </p:nvSpPr>
        <p:spPr>
          <a:xfrm>
            <a:off x="11666479" y="6352790"/>
            <a:ext cx="4187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CH" b="1" dirty="0">
                <a:solidFill>
                  <a:schemeClr val="accent1"/>
                </a:solidFill>
              </a:rPr>
              <a:t>11</a:t>
            </a:r>
            <a:endParaRPr lang="fr-CH" dirty="0"/>
          </a:p>
        </p:txBody>
      </p:sp>
      <p:sp>
        <p:nvSpPr>
          <p:cNvPr id="41" name="Freeform 115">
            <a:extLst>
              <a:ext uri="{FF2B5EF4-FFF2-40B4-BE49-F238E27FC236}">
                <a16:creationId xmlns:a16="http://schemas.microsoft.com/office/drawing/2014/main" id="{60CEBCF9-EF4E-455E-8575-E13AFFE1DED0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10440537" y="6445134"/>
            <a:ext cx="1115616" cy="304081"/>
          </a:xfrm>
          <a:custGeom>
            <a:avLst/>
            <a:gdLst>
              <a:gd name="T0" fmla="*/ 165 w 165"/>
              <a:gd name="T1" fmla="*/ 25 h 45"/>
              <a:gd name="T2" fmla="*/ 165 w 165"/>
              <a:gd name="T3" fmla="*/ 41 h 45"/>
              <a:gd name="T4" fmla="*/ 160 w 165"/>
              <a:gd name="T5" fmla="*/ 45 h 45"/>
              <a:gd name="T6" fmla="*/ 25 w 165"/>
              <a:gd name="T7" fmla="*/ 45 h 45"/>
              <a:gd name="T8" fmla="*/ 7 w 165"/>
              <a:gd name="T9" fmla="*/ 38 h 45"/>
              <a:gd name="T10" fmla="*/ 0 w 165"/>
              <a:gd name="T11" fmla="*/ 19 h 45"/>
              <a:gd name="T12" fmla="*/ 0 w 165"/>
              <a:gd name="T13" fmla="*/ 4 h 45"/>
              <a:gd name="T14" fmla="*/ 4 w 165"/>
              <a:gd name="T15" fmla="*/ 0 h 45"/>
              <a:gd name="T16" fmla="*/ 139 w 165"/>
              <a:gd name="T17" fmla="*/ 0 h 45"/>
              <a:gd name="T18" fmla="*/ 158 w 165"/>
              <a:gd name="T19" fmla="*/ 7 h 45"/>
              <a:gd name="T20" fmla="*/ 165 w 165"/>
              <a:gd name="T21" fmla="*/ 25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65" h="45">
                <a:moveTo>
                  <a:pt x="165" y="25"/>
                </a:moveTo>
                <a:cubicBezTo>
                  <a:pt x="165" y="41"/>
                  <a:pt x="165" y="41"/>
                  <a:pt x="165" y="41"/>
                </a:cubicBezTo>
                <a:cubicBezTo>
                  <a:pt x="165" y="44"/>
                  <a:pt x="163" y="45"/>
                  <a:pt x="160" y="45"/>
                </a:cubicBezTo>
                <a:cubicBezTo>
                  <a:pt x="25" y="45"/>
                  <a:pt x="25" y="45"/>
                  <a:pt x="25" y="45"/>
                </a:cubicBezTo>
                <a:cubicBezTo>
                  <a:pt x="17" y="45"/>
                  <a:pt x="11" y="43"/>
                  <a:pt x="7" y="38"/>
                </a:cubicBezTo>
                <a:cubicBezTo>
                  <a:pt x="2" y="34"/>
                  <a:pt x="0" y="28"/>
                  <a:pt x="0" y="19"/>
                </a:cubicBezTo>
                <a:cubicBezTo>
                  <a:pt x="0" y="4"/>
                  <a:pt x="0" y="4"/>
                  <a:pt x="0" y="4"/>
                </a:cubicBezTo>
                <a:cubicBezTo>
                  <a:pt x="0" y="1"/>
                  <a:pt x="1" y="0"/>
                  <a:pt x="4" y="0"/>
                </a:cubicBezTo>
                <a:cubicBezTo>
                  <a:pt x="139" y="0"/>
                  <a:pt x="139" y="0"/>
                  <a:pt x="139" y="0"/>
                </a:cubicBezTo>
                <a:cubicBezTo>
                  <a:pt x="147" y="0"/>
                  <a:pt x="153" y="2"/>
                  <a:pt x="158" y="7"/>
                </a:cubicBezTo>
                <a:cubicBezTo>
                  <a:pt x="162" y="11"/>
                  <a:pt x="165" y="17"/>
                  <a:pt x="165" y="25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fr-CH" sz="1100" dirty="0"/>
              <a:t>Développement</a:t>
            </a: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E32D746F-9A2D-4398-BE1E-3699C34DCB73}"/>
              </a:ext>
            </a:extLst>
          </p:cNvPr>
          <p:cNvSpPr txBox="1"/>
          <p:nvPr/>
        </p:nvSpPr>
        <p:spPr>
          <a:xfrm>
            <a:off x="6916849" y="539833"/>
            <a:ext cx="457925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CH" sz="4000" i="1" dirty="0" smtClean="0">
                <a:solidFill>
                  <a:srgbClr val="FFC000"/>
                </a:solidFill>
                <a:latin typeface="Arial Black" panose="020B0A04020102020204" pitchFamily="34" charset="0"/>
              </a:rPr>
              <a:t>Partie</a:t>
            </a:r>
            <a:endParaRPr lang="fr-CH" sz="4000" i="1" dirty="0">
              <a:solidFill>
                <a:srgbClr val="FFC000"/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07399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500"/>
                            </p:stCondLst>
                            <p:childTnLst>
                              <p:par>
                                <p:cTn id="20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2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500"/>
                            </p:stCondLst>
                            <p:childTnLst>
                              <p:par>
                                <p:cTn id="3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7" grpId="0" animBg="1"/>
      <p:bldP spid="29" grpId="0"/>
      <p:bldP spid="30" grpId="0"/>
      <p:bldP spid="31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4">
            <a:extLst>
              <a:ext uri="{FF2B5EF4-FFF2-40B4-BE49-F238E27FC236}">
                <a16:creationId xmlns:a16="http://schemas.microsoft.com/office/drawing/2014/main" id="{F7FE0B10-F2FF-4B56-A89C-0DAAAAB91163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623888" y="730800"/>
            <a:ext cx="10944225" cy="325952"/>
          </a:xfrm>
        </p:spPr>
        <p:txBody>
          <a:bodyPr>
            <a:normAutofit fontScale="90000"/>
          </a:bodyPr>
          <a:lstStyle/>
          <a:p>
            <a:r>
              <a:rPr lang="fr-CH" dirty="0"/>
              <a:t>Objectif / Description</a:t>
            </a:r>
            <a:endParaRPr lang="en-US" dirty="0"/>
          </a:p>
        </p:txBody>
      </p:sp>
      <p:sp>
        <p:nvSpPr>
          <p:cNvPr id="24" name="Freeform 6">
            <a:extLst>
              <a:ext uri="{FF2B5EF4-FFF2-40B4-BE49-F238E27FC236}">
                <a16:creationId xmlns:a16="http://schemas.microsoft.com/office/drawing/2014/main" id="{4AC4A82C-B6E0-4525-A1E4-3B0502FE26A7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 bwMode="gray">
          <a:xfrm rot="5400000">
            <a:off x="8330521" y="1439986"/>
            <a:ext cx="1225230" cy="1473841"/>
          </a:xfrm>
          <a:custGeom>
            <a:avLst/>
            <a:gdLst>
              <a:gd name="T0" fmla="*/ 831 w 1046"/>
              <a:gd name="T1" fmla="*/ 1239 h 1258"/>
              <a:gd name="T2" fmla="*/ 927 w 1046"/>
              <a:gd name="T3" fmla="*/ 1185 h 1258"/>
              <a:gd name="T4" fmla="*/ 1046 w 1046"/>
              <a:gd name="T5" fmla="*/ 284 h 1258"/>
              <a:gd name="T6" fmla="*/ 957 w 1046"/>
              <a:gd name="T7" fmla="*/ 208 h 1258"/>
              <a:gd name="T8" fmla="*/ 82 w 1046"/>
              <a:gd name="T9" fmla="*/ 15 h 1258"/>
              <a:gd name="T10" fmla="*/ 10 w 1046"/>
              <a:gd name="T11" fmla="*/ 102 h 1258"/>
              <a:gd name="T12" fmla="*/ 212 w 1046"/>
              <a:gd name="T13" fmla="*/ 1000 h 1258"/>
              <a:gd name="T14" fmla="*/ 325 w 1046"/>
              <a:gd name="T15" fmla="*/ 1108 h 12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046" h="1258">
                <a:moveTo>
                  <a:pt x="831" y="1239"/>
                </a:moveTo>
                <a:cubicBezTo>
                  <a:pt x="917" y="1258"/>
                  <a:pt x="926" y="1190"/>
                  <a:pt x="927" y="1185"/>
                </a:cubicBezTo>
                <a:cubicBezTo>
                  <a:pt x="1046" y="284"/>
                  <a:pt x="1046" y="284"/>
                  <a:pt x="1046" y="284"/>
                </a:cubicBezTo>
                <a:cubicBezTo>
                  <a:pt x="1041" y="247"/>
                  <a:pt x="1004" y="214"/>
                  <a:pt x="957" y="208"/>
                </a:cubicBezTo>
                <a:cubicBezTo>
                  <a:pt x="82" y="15"/>
                  <a:pt x="82" y="15"/>
                  <a:pt x="82" y="15"/>
                </a:cubicBezTo>
                <a:cubicBezTo>
                  <a:pt x="30" y="0"/>
                  <a:pt x="0" y="58"/>
                  <a:pt x="10" y="102"/>
                </a:cubicBezTo>
                <a:cubicBezTo>
                  <a:pt x="212" y="1000"/>
                  <a:pt x="212" y="1000"/>
                  <a:pt x="212" y="1000"/>
                </a:cubicBezTo>
                <a:cubicBezTo>
                  <a:pt x="222" y="1044"/>
                  <a:pt x="273" y="1092"/>
                  <a:pt x="325" y="1108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vert270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CH" sz="4400" dirty="0">
                <a:solidFill>
                  <a:schemeClr val="accent4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25" name="Freeform 10">
            <a:extLst>
              <a:ext uri="{FF2B5EF4-FFF2-40B4-BE49-F238E27FC236}">
                <a16:creationId xmlns:a16="http://schemas.microsoft.com/office/drawing/2014/main" id="{564D098F-CF2C-401B-BAF0-468BDD7EF7B2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gray">
          <a:xfrm rot="5400000">
            <a:off x="8219091" y="4068657"/>
            <a:ext cx="1240087" cy="1265839"/>
          </a:xfrm>
          <a:custGeom>
            <a:avLst/>
            <a:gdLst>
              <a:gd name="T0" fmla="*/ 855 w 1059"/>
              <a:gd name="T1" fmla="*/ 90 h 1081"/>
              <a:gd name="T2" fmla="*/ 783 w 1059"/>
              <a:gd name="T3" fmla="*/ 1 h 1081"/>
              <a:gd name="T4" fmla="*/ 186 w 1059"/>
              <a:gd name="T5" fmla="*/ 10 h 1081"/>
              <a:gd name="T6" fmla="*/ 115 w 1059"/>
              <a:gd name="T7" fmla="*/ 65 h 1081"/>
              <a:gd name="T8" fmla="*/ 0 w 1059"/>
              <a:gd name="T9" fmla="*/ 938 h 1081"/>
              <a:gd name="T10" fmla="*/ 62 w 1059"/>
              <a:gd name="T11" fmla="*/ 1009 h 1081"/>
              <a:gd name="T12" fmla="*/ 646 w 1059"/>
              <a:gd name="T13" fmla="*/ 1076 h 1081"/>
              <a:gd name="T14" fmla="*/ 903 w 1059"/>
              <a:gd name="T15" fmla="*/ 1024 h 1081"/>
              <a:gd name="T16" fmla="*/ 1027 w 1059"/>
              <a:gd name="T17" fmla="*/ 908 h 10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059" h="1081">
                <a:moveTo>
                  <a:pt x="855" y="90"/>
                </a:moveTo>
                <a:cubicBezTo>
                  <a:pt x="849" y="49"/>
                  <a:pt x="830" y="0"/>
                  <a:pt x="783" y="1"/>
                </a:cubicBezTo>
                <a:cubicBezTo>
                  <a:pt x="783" y="1"/>
                  <a:pt x="223" y="9"/>
                  <a:pt x="186" y="10"/>
                </a:cubicBezTo>
                <a:cubicBezTo>
                  <a:pt x="149" y="11"/>
                  <a:pt x="116" y="60"/>
                  <a:pt x="115" y="65"/>
                </a:cubicBezTo>
                <a:cubicBezTo>
                  <a:pt x="0" y="938"/>
                  <a:pt x="0" y="938"/>
                  <a:pt x="0" y="938"/>
                </a:cubicBezTo>
                <a:cubicBezTo>
                  <a:pt x="3" y="974"/>
                  <a:pt x="28" y="1004"/>
                  <a:pt x="62" y="1009"/>
                </a:cubicBezTo>
                <a:cubicBezTo>
                  <a:pt x="646" y="1076"/>
                  <a:pt x="646" y="1076"/>
                  <a:pt x="646" y="1076"/>
                </a:cubicBezTo>
                <a:cubicBezTo>
                  <a:pt x="685" y="1081"/>
                  <a:pt x="823" y="1048"/>
                  <a:pt x="903" y="1024"/>
                </a:cubicBezTo>
                <a:cubicBezTo>
                  <a:pt x="983" y="1000"/>
                  <a:pt x="1059" y="1006"/>
                  <a:pt x="1027" y="908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vert270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CH" sz="4400" dirty="0">
                <a:solidFill>
                  <a:schemeClr val="accent4"/>
                </a:solidFill>
                <a:latin typeface="Arial Black" panose="020B0A04020102020204" pitchFamily="34" charset="0"/>
              </a:rPr>
              <a:t>6</a:t>
            </a:r>
          </a:p>
        </p:txBody>
      </p:sp>
      <p:grpSp>
        <p:nvGrpSpPr>
          <p:cNvPr id="26" name="Groupe 25">
            <a:extLst>
              <a:ext uri="{FF2B5EF4-FFF2-40B4-BE49-F238E27FC236}">
                <a16:creationId xmlns:a16="http://schemas.microsoft.com/office/drawing/2014/main" id="{E5C9D172-02EB-4916-B8BD-82AA6612B2A9}"/>
              </a:ext>
            </a:extLst>
          </p:cNvPr>
          <p:cNvGrpSpPr/>
          <p:nvPr/>
        </p:nvGrpSpPr>
        <p:grpSpPr>
          <a:xfrm rot="10800000">
            <a:off x="1856959" y="2954109"/>
            <a:ext cx="1247587" cy="962836"/>
            <a:chOff x="7147008" y="2888710"/>
            <a:chExt cx="1247587" cy="962836"/>
          </a:xfrm>
        </p:grpSpPr>
        <p:sp>
          <p:nvSpPr>
            <p:cNvPr id="27" name="Freeform 9">
              <a:extLst>
                <a:ext uri="{FF2B5EF4-FFF2-40B4-BE49-F238E27FC236}">
                  <a16:creationId xmlns:a16="http://schemas.microsoft.com/office/drawing/2014/main" id="{D0E106AA-6487-4E1B-858A-09F52CDF6A45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gray">
            <a:xfrm rot="16200000">
              <a:off x="7289384" y="2746334"/>
              <a:ext cx="962836" cy="1247587"/>
            </a:xfrm>
            <a:custGeom>
              <a:avLst/>
              <a:gdLst>
                <a:gd name="T0" fmla="*/ 413 w 765"/>
                <a:gd name="T1" fmla="*/ 0 h 991"/>
                <a:gd name="T2" fmla="*/ 719 w 765"/>
                <a:gd name="T3" fmla="*/ 150 h 991"/>
                <a:gd name="T4" fmla="*/ 765 w 765"/>
                <a:gd name="T5" fmla="*/ 233 h 991"/>
                <a:gd name="T6" fmla="*/ 765 w 765"/>
                <a:gd name="T7" fmla="*/ 931 h 991"/>
                <a:gd name="T8" fmla="*/ 718 w 765"/>
                <a:gd name="T9" fmla="*/ 985 h 991"/>
                <a:gd name="T10" fmla="*/ 47 w 765"/>
                <a:gd name="T11" fmla="*/ 830 h 991"/>
                <a:gd name="T12" fmla="*/ 0 w 765"/>
                <a:gd name="T13" fmla="*/ 755 h 991"/>
                <a:gd name="T14" fmla="*/ 0 w 765"/>
                <a:gd name="T15" fmla="*/ 366 h 991"/>
                <a:gd name="T16" fmla="*/ 41 w 765"/>
                <a:gd name="T17" fmla="*/ 268 h 991"/>
                <a:gd name="T18" fmla="*/ 413 w 765"/>
                <a:gd name="T19" fmla="*/ 0 h 9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65" h="991">
                  <a:moveTo>
                    <a:pt x="413" y="0"/>
                  </a:moveTo>
                  <a:cubicBezTo>
                    <a:pt x="486" y="0"/>
                    <a:pt x="719" y="150"/>
                    <a:pt x="719" y="150"/>
                  </a:cubicBezTo>
                  <a:cubicBezTo>
                    <a:pt x="744" y="160"/>
                    <a:pt x="765" y="198"/>
                    <a:pt x="765" y="233"/>
                  </a:cubicBezTo>
                  <a:cubicBezTo>
                    <a:pt x="765" y="931"/>
                    <a:pt x="765" y="931"/>
                    <a:pt x="765" y="931"/>
                  </a:cubicBezTo>
                  <a:cubicBezTo>
                    <a:pt x="765" y="966"/>
                    <a:pt x="744" y="991"/>
                    <a:pt x="718" y="985"/>
                  </a:cubicBezTo>
                  <a:cubicBezTo>
                    <a:pt x="47" y="830"/>
                    <a:pt x="47" y="830"/>
                    <a:pt x="47" y="830"/>
                  </a:cubicBezTo>
                  <a:cubicBezTo>
                    <a:pt x="21" y="824"/>
                    <a:pt x="0" y="791"/>
                    <a:pt x="0" y="755"/>
                  </a:cubicBezTo>
                  <a:cubicBezTo>
                    <a:pt x="0" y="366"/>
                    <a:pt x="0" y="366"/>
                    <a:pt x="0" y="366"/>
                  </a:cubicBezTo>
                  <a:cubicBezTo>
                    <a:pt x="0" y="330"/>
                    <a:pt x="19" y="286"/>
                    <a:pt x="41" y="268"/>
                  </a:cubicBezTo>
                  <a:cubicBezTo>
                    <a:pt x="41" y="268"/>
                    <a:pt x="349" y="0"/>
                    <a:pt x="413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vert270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fr-CH" sz="4400" dirty="0">
                  <a:solidFill>
                    <a:schemeClr val="accent4"/>
                  </a:solidFill>
                  <a:latin typeface="Arial Black" panose="020B0A04020102020204" pitchFamily="34" charset="0"/>
                </a:rPr>
                <a:t>5</a:t>
              </a:r>
            </a:p>
          </p:txBody>
        </p:sp>
        <p:sp>
          <p:nvSpPr>
            <p:cNvPr id="28" name="ZoneTexte 27">
              <a:extLst>
                <a:ext uri="{FF2B5EF4-FFF2-40B4-BE49-F238E27FC236}">
                  <a16:creationId xmlns:a16="http://schemas.microsoft.com/office/drawing/2014/main" id="{1A3A0610-066E-4C00-98FE-617039C3D775}"/>
                </a:ext>
              </a:extLst>
            </p:cNvPr>
            <p:cNvSpPr txBox="1"/>
            <p:nvPr/>
          </p:nvSpPr>
          <p:spPr>
            <a:xfrm>
              <a:off x="7733028" y="2984245"/>
              <a:ext cx="184731" cy="769441"/>
            </a:xfrm>
            <a:prstGeom prst="rect">
              <a:avLst/>
            </a:prstGeom>
          </p:spPr>
          <p:txBody>
            <a:bodyPr wrap="none" rtlCol="0">
              <a:spAutoFit/>
            </a:bodyPr>
            <a:lstStyle/>
            <a:p>
              <a:endParaRPr lang="fr-CH" sz="4400" dirty="0">
                <a:solidFill>
                  <a:schemeClr val="accent4"/>
                </a:solidFill>
                <a:latin typeface="Arial Black" panose="020B0A04020102020204" pitchFamily="34" charset="0"/>
              </a:endParaRPr>
            </a:p>
          </p:txBody>
        </p:sp>
      </p:grpSp>
      <p:cxnSp>
        <p:nvCxnSpPr>
          <p:cNvPr id="29" name="Connecteur droit 28">
            <a:extLst>
              <a:ext uri="{FF2B5EF4-FFF2-40B4-BE49-F238E27FC236}">
                <a16:creationId xmlns:a16="http://schemas.microsoft.com/office/drawing/2014/main" id="{5901A2F4-BA3C-49AB-B9AB-9155156B7F27}"/>
              </a:ext>
            </a:extLst>
          </p:cNvPr>
          <p:cNvCxnSpPr>
            <a:cxnSpLocks/>
          </p:cNvCxnSpPr>
          <p:nvPr/>
        </p:nvCxnSpPr>
        <p:spPr>
          <a:xfrm flipH="1">
            <a:off x="3464951" y="2789521"/>
            <a:ext cx="4587228" cy="0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eur droit 29">
            <a:extLst>
              <a:ext uri="{FF2B5EF4-FFF2-40B4-BE49-F238E27FC236}">
                <a16:creationId xmlns:a16="http://schemas.microsoft.com/office/drawing/2014/main" id="{977F327C-4073-4B8B-8726-53184AEF2A15}"/>
              </a:ext>
            </a:extLst>
          </p:cNvPr>
          <p:cNvCxnSpPr>
            <a:cxnSpLocks/>
          </p:cNvCxnSpPr>
          <p:nvPr/>
        </p:nvCxnSpPr>
        <p:spPr>
          <a:xfrm flipH="1">
            <a:off x="3464951" y="3903260"/>
            <a:ext cx="4587228" cy="0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necteur droit 30">
            <a:extLst>
              <a:ext uri="{FF2B5EF4-FFF2-40B4-BE49-F238E27FC236}">
                <a16:creationId xmlns:a16="http://schemas.microsoft.com/office/drawing/2014/main" id="{723C51E7-96D1-43C0-BFBE-633BFBFD387A}"/>
              </a:ext>
            </a:extLst>
          </p:cNvPr>
          <p:cNvCxnSpPr>
            <a:cxnSpLocks/>
          </p:cNvCxnSpPr>
          <p:nvPr/>
        </p:nvCxnSpPr>
        <p:spPr>
          <a:xfrm flipH="1">
            <a:off x="3464951" y="5018130"/>
            <a:ext cx="4587228" cy="0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ZoneTexte 31">
            <a:extLst>
              <a:ext uri="{FF2B5EF4-FFF2-40B4-BE49-F238E27FC236}">
                <a16:creationId xmlns:a16="http://schemas.microsoft.com/office/drawing/2014/main" id="{0C9BD9A0-F37D-43C9-BFFA-05DEE60FE805}"/>
              </a:ext>
            </a:extLst>
          </p:cNvPr>
          <p:cNvSpPr txBox="1"/>
          <p:nvPr/>
        </p:nvSpPr>
        <p:spPr>
          <a:xfrm>
            <a:off x="4355909" y="2176906"/>
            <a:ext cx="369626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H" sz="4400" dirty="0">
                <a:solidFill>
                  <a:srgbClr val="5B9BD5"/>
                </a:solidFill>
                <a:latin typeface="Arial Black" panose="020B0A04020102020204" pitchFamily="34" charset="0"/>
              </a:rPr>
              <a:t>Ranger</a:t>
            </a:r>
          </a:p>
        </p:txBody>
      </p:sp>
      <p:sp>
        <p:nvSpPr>
          <p:cNvPr id="33" name="ZoneTexte 32">
            <a:extLst>
              <a:ext uri="{FF2B5EF4-FFF2-40B4-BE49-F238E27FC236}">
                <a16:creationId xmlns:a16="http://schemas.microsoft.com/office/drawing/2014/main" id="{42DB4C33-640E-49BC-8889-FA35BE9EA54A}"/>
              </a:ext>
            </a:extLst>
          </p:cNvPr>
          <p:cNvSpPr txBox="1"/>
          <p:nvPr/>
        </p:nvSpPr>
        <p:spPr>
          <a:xfrm>
            <a:off x="4355910" y="3291775"/>
            <a:ext cx="348017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H" sz="4400" dirty="0">
                <a:solidFill>
                  <a:srgbClr val="5B9BD5"/>
                </a:solidFill>
                <a:latin typeface="Arial Black" panose="020B0A04020102020204" pitchFamily="34" charset="0"/>
              </a:rPr>
              <a:t>Ajouter</a:t>
            </a:r>
          </a:p>
        </p:txBody>
      </p:sp>
      <p:sp>
        <p:nvSpPr>
          <p:cNvPr id="34" name="ZoneTexte 33">
            <a:extLst>
              <a:ext uri="{FF2B5EF4-FFF2-40B4-BE49-F238E27FC236}">
                <a16:creationId xmlns:a16="http://schemas.microsoft.com/office/drawing/2014/main" id="{03C92F8B-CC1B-45A8-8D33-9F7A96A355FB}"/>
              </a:ext>
            </a:extLst>
          </p:cNvPr>
          <p:cNvSpPr txBox="1"/>
          <p:nvPr/>
        </p:nvSpPr>
        <p:spPr>
          <a:xfrm>
            <a:off x="4355909" y="4413651"/>
            <a:ext cx="369627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H" sz="4400" dirty="0">
                <a:solidFill>
                  <a:srgbClr val="5B9BD5"/>
                </a:solidFill>
                <a:latin typeface="Arial Black" panose="020B0A04020102020204" pitchFamily="34" charset="0"/>
              </a:rPr>
              <a:t>Bouger</a:t>
            </a:r>
          </a:p>
        </p:txBody>
      </p:sp>
      <p:sp>
        <p:nvSpPr>
          <p:cNvPr id="39" name="TextBox 16">
            <a:extLst>
              <a:ext uri="{FF2B5EF4-FFF2-40B4-BE49-F238E27FC236}">
                <a16:creationId xmlns:a16="http://schemas.microsoft.com/office/drawing/2014/main" id="{61F3344A-641C-4AE7-8CE6-285F0E0A88DC}"/>
              </a:ext>
            </a:extLst>
          </p:cNvPr>
          <p:cNvSpPr txBox="1"/>
          <p:nvPr/>
        </p:nvSpPr>
        <p:spPr>
          <a:xfrm>
            <a:off x="11666479" y="6352790"/>
            <a:ext cx="4187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CH" b="1" dirty="0">
                <a:solidFill>
                  <a:schemeClr val="accent1"/>
                </a:solidFill>
              </a:rPr>
              <a:t>12</a:t>
            </a:r>
            <a:endParaRPr lang="fr-CH" dirty="0"/>
          </a:p>
        </p:txBody>
      </p:sp>
      <p:sp>
        <p:nvSpPr>
          <p:cNvPr id="40" name="Freeform 115">
            <a:extLst>
              <a:ext uri="{FF2B5EF4-FFF2-40B4-BE49-F238E27FC236}">
                <a16:creationId xmlns:a16="http://schemas.microsoft.com/office/drawing/2014/main" id="{D4A07EC7-8BD1-4AF7-A894-13159628DF17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10440537" y="6445134"/>
            <a:ext cx="1115616" cy="304081"/>
          </a:xfrm>
          <a:custGeom>
            <a:avLst/>
            <a:gdLst>
              <a:gd name="T0" fmla="*/ 165 w 165"/>
              <a:gd name="T1" fmla="*/ 25 h 45"/>
              <a:gd name="T2" fmla="*/ 165 w 165"/>
              <a:gd name="T3" fmla="*/ 41 h 45"/>
              <a:gd name="T4" fmla="*/ 160 w 165"/>
              <a:gd name="T5" fmla="*/ 45 h 45"/>
              <a:gd name="T6" fmla="*/ 25 w 165"/>
              <a:gd name="T7" fmla="*/ 45 h 45"/>
              <a:gd name="T8" fmla="*/ 7 w 165"/>
              <a:gd name="T9" fmla="*/ 38 h 45"/>
              <a:gd name="T10" fmla="*/ 0 w 165"/>
              <a:gd name="T11" fmla="*/ 19 h 45"/>
              <a:gd name="T12" fmla="*/ 0 w 165"/>
              <a:gd name="T13" fmla="*/ 4 h 45"/>
              <a:gd name="T14" fmla="*/ 4 w 165"/>
              <a:gd name="T15" fmla="*/ 0 h 45"/>
              <a:gd name="T16" fmla="*/ 139 w 165"/>
              <a:gd name="T17" fmla="*/ 0 h 45"/>
              <a:gd name="T18" fmla="*/ 158 w 165"/>
              <a:gd name="T19" fmla="*/ 7 h 45"/>
              <a:gd name="T20" fmla="*/ 165 w 165"/>
              <a:gd name="T21" fmla="*/ 25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65" h="45">
                <a:moveTo>
                  <a:pt x="165" y="25"/>
                </a:moveTo>
                <a:cubicBezTo>
                  <a:pt x="165" y="41"/>
                  <a:pt x="165" y="41"/>
                  <a:pt x="165" y="41"/>
                </a:cubicBezTo>
                <a:cubicBezTo>
                  <a:pt x="165" y="44"/>
                  <a:pt x="163" y="45"/>
                  <a:pt x="160" y="45"/>
                </a:cubicBezTo>
                <a:cubicBezTo>
                  <a:pt x="25" y="45"/>
                  <a:pt x="25" y="45"/>
                  <a:pt x="25" y="45"/>
                </a:cubicBezTo>
                <a:cubicBezTo>
                  <a:pt x="17" y="45"/>
                  <a:pt x="11" y="43"/>
                  <a:pt x="7" y="38"/>
                </a:cubicBezTo>
                <a:cubicBezTo>
                  <a:pt x="2" y="34"/>
                  <a:pt x="0" y="28"/>
                  <a:pt x="0" y="19"/>
                </a:cubicBezTo>
                <a:cubicBezTo>
                  <a:pt x="0" y="4"/>
                  <a:pt x="0" y="4"/>
                  <a:pt x="0" y="4"/>
                </a:cubicBezTo>
                <a:cubicBezTo>
                  <a:pt x="0" y="1"/>
                  <a:pt x="1" y="0"/>
                  <a:pt x="4" y="0"/>
                </a:cubicBezTo>
                <a:cubicBezTo>
                  <a:pt x="139" y="0"/>
                  <a:pt x="139" y="0"/>
                  <a:pt x="139" y="0"/>
                </a:cubicBezTo>
                <a:cubicBezTo>
                  <a:pt x="147" y="0"/>
                  <a:pt x="153" y="2"/>
                  <a:pt x="158" y="7"/>
                </a:cubicBezTo>
                <a:cubicBezTo>
                  <a:pt x="162" y="11"/>
                  <a:pt x="165" y="17"/>
                  <a:pt x="165" y="25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fr-CH" sz="1100" dirty="0"/>
              <a:t>Développement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E32D746F-9A2D-4398-BE1E-3699C34DCB73}"/>
              </a:ext>
            </a:extLst>
          </p:cNvPr>
          <p:cNvSpPr txBox="1"/>
          <p:nvPr/>
        </p:nvSpPr>
        <p:spPr>
          <a:xfrm>
            <a:off x="6916849" y="539833"/>
            <a:ext cx="457925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CH" sz="4000" i="1" dirty="0" smtClean="0">
                <a:solidFill>
                  <a:srgbClr val="FFC000"/>
                </a:solidFill>
                <a:latin typeface="Arial Black" panose="020B0A04020102020204" pitchFamily="34" charset="0"/>
              </a:rPr>
              <a:t>Partie</a:t>
            </a:r>
            <a:endParaRPr lang="fr-CH" sz="4000" i="1" dirty="0">
              <a:solidFill>
                <a:srgbClr val="FFC000"/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67504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500"/>
                            </p:stCondLst>
                            <p:childTnLst>
                              <p:par>
                                <p:cTn id="30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2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  <p:bldP spid="25" grpId="0" animBg="1"/>
      <p:bldP spid="32" grpId="0"/>
      <p:bldP spid="33" grpId="0"/>
      <p:bldP spid="34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c62269f-1657-420c-a987-7839c5f02a46"/>
  <p:tag name="MIO_EK_DESIGN" val="2529"/>
  <p:tag name="MIO_VERSION_DESIGN" val="26.02.2016 15:54:17"/>
  <p:tag name="MIO_DBID_DESIGN" val="218709A9-2117-4AF1-A1EA-309C9A305E58"/>
  <p:tag name="VCT_STH" val="True"/>
  <p:tag name="MIO_EK" val="11179"/>
  <p:tag name="MIO_EKGUID" val="18c0778f-3711-4479-b758-e94b42026d22"/>
  <p:tag name="MIO_UPDATE" val="True"/>
  <p:tag name="MIO_VERSION" val="25.02.2018 16:36:50"/>
  <p:tag name="MIO_DBID" val="218709A9-2117-4AF1-A1EA-309C9A305E58"/>
  <p:tag name="MIO_LASTDOWNLOADED" val="19.07.2018 08:05:02"/>
  <p:tag name="MIO_OBJECTNAME" val="Four horizontal pictures in corporate shapes w (2)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GUID" val="8b8fd338-4f16-4c91-a889-94dd23b4f476"/>
  <p:tag name="MIO_EK" val="11494"/>
  <p:tag name="MIO_EKGUID" val="9e0591cd-320b-48c3-98bc-03985f91e6c6"/>
  <p:tag name="MIO_UPDATE" val="True"/>
  <p:tag name="MIO_VERSION" val="05.06.2017 17:06:19"/>
  <p:tag name="MIO_DBID" val="218709A9-2117-4AF1-A1EA-309C9A305E58"/>
  <p:tag name="MIO_LASTDOWNLOADED" val="17.07.2018 20:54:09"/>
  <p:tag name="MIO_OBJECTNAME" val="Freeform 115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  <p:tag name="VCTCREATESHAPEHANDLED" val="0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  <p:tag name="VCTCREATESHAPEHANDLED" val="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  <p:tag name="VCTCREATESHAPEHANDLED" val="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  <p:tag name="VCTCREATESHAPEHANDLED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  <p:tag name="VCTCREATESHAPEHANDLED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  <p:tag name="VCTCREATESHAPEHANDLED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  <p:tag name="VCTCREATESHAPEHANDLED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  <p:tag name="VCTCREATESHAPEHANDLED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c11840c-3058-4578-b196-4741cc5d4f49"/>
  <p:tag name="MIO_EK_DESIGN" val="2529"/>
  <p:tag name="MIO_VERSION_DESIGN" val="26.02.2016 15:54:17"/>
  <p:tag name="MIO_DBID_DESIGN" val="218709A9-2117-4AF1-A1EA-309C9A305E58"/>
  <p:tag name="VCT_STH" val="True"/>
  <p:tag name="MIO_EK" val="11219"/>
  <p:tag name="MIO_EKGUID" val="bdd90949-bbb4-4eae-880b-462f93afc9b3"/>
  <p:tag name="MIO_UPDATE" val="True"/>
  <p:tag name="MIO_VERSION" val="25.02.2018 16:12:13"/>
  <p:tag name="MIO_DBID" val="218709A9-2117-4AF1-A1EA-309C9A305E58"/>
  <p:tag name="MIO_LASTDOWNLOADED" val="17.07.2018 19:15:59"/>
  <p:tag name="MIO_OBJECTNAME" val="Six topics forming a set (2)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GUID" val="8b8fd338-4f16-4c91-a889-94dd23b4f476"/>
  <p:tag name="MIO_EK" val="11494"/>
  <p:tag name="MIO_EKGUID" val="9e0591cd-320b-48c3-98bc-03985f91e6c6"/>
  <p:tag name="MIO_UPDATE" val="True"/>
  <p:tag name="MIO_VERSION" val="05.06.2017 17:06:19"/>
  <p:tag name="MIO_DBID" val="218709A9-2117-4AF1-A1EA-309C9A305E58"/>
  <p:tag name="MIO_LASTDOWNLOADED" val="17.07.2018 20:54:09"/>
  <p:tag name="MIO_OBJECTNAME" val="Freeform 115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64ebffd-58b8-4c93-8e5e-95de5382050f"/>
  <p:tag name="MIO_EK_DESIGN" val="2529"/>
  <p:tag name="MIO_VERSION_DESIGN" val="26.02.2016 15:54:17"/>
  <p:tag name="MIO_DBID_DESIGN" val="218709A9-2117-4AF1-A1EA-309C9A305E58"/>
  <p:tag name="VCT_STH" val="True"/>
  <p:tag name="MIO_EK" val="11231"/>
  <p:tag name="MIO_EKGUID" val="fe34ab40-1de9-423d-a8fd-6ab75921327b"/>
  <p:tag name="MIO_UPDATE" val="True"/>
  <p:tag name="MIO_VERSION" val="25.02.2018 16:13:04"/>
  <p:tag name="MIO_DBID" val="218709A9-2117-4AF1-A1EA-309C9A305E58"/>
  <p:tag name="MIO_LASTDOWNLOADED" val="16.07.2018 10:26:57"/>
  <p:tag name="MIO_OBJECTNAME" val="Dynamic Concept with more content"/>
  <p:tag name="MIO_LASTEDITORNAME" val="Michaela Kapall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  <p:tag name="VCTCREATESHAPEHANDLED" val="0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  <p:tag name="VCTCREATESHAPEHANDLED" val="0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  <p:tag name="VCTCREATESHAPEHANDLED" val="0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  <p:tag name="VCTCREATESHAPEHANDLED" val="0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  <p:tag name="VCTCREATESHAPEHANDLED" val="0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  <p:tag name="VCTCREATESHAPEHANDLED" val="0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GUID" val="8b8fd338-4f16-4c91-a889-94dd23b4f476"/>
  <p:tag name="MIO_EK" val="11494"/>
  <p:tag name="MIO_EKGUID" val="9e0591cd-320b-48c3-98bc-03985f91e6c6"/>
  <p:tag name="MIO_UPDATE" val="True"/>
  <p:tag name="MIO_VERSION" val="05.06.2017 17:06:19"/>
  <p:tag name="MIO_DBID" val="218709A9-2117-4AF1-A1EA-309C9A305E58"/>
  <p:tag name="MIO_LASTDOWNLOADED" val="17.07.2018 20:54:09"/>
  <p:tag name="MIO_OBJECTNAME" val="Freeform 11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1c2add4-5678-47ab-91d6-13ad8ab6f781"/>
  <p:tag name="MIO_EK_DESIGN" val="2529"/>
  <p:tag name="MIO_VERSION_DESIGN" val="26.02.2016 15:54:17"/>
  <p:tag name="MIO_DBID_DESIGN" val="218709A9-2117-4AF1-A1EA-309C9A305E58"/>
  <p:tag name="VCT_STH" val="True"/>
  <p:tag name="MIO_EK" val="11236"/>
  <p:tag name="MIO_EKGUID" val="7e706287-fb59-4c4a-929b-a9dbb4ab6e81"/>
  <p:tag name="MIO_UPDATE" val="True"/>
  <p:tag name="MIO_VERSION" val="25.02.2018 16:13:25"/>
  <p:tag name="MIO_DBID" val="218709A9-2117-4AF1-A1EA-309C9A305E58"/>
  <p:tag name="MIO_LASTDOWNLOADED" val="17.07.2018 19:07:39"/>
  <p:tag name="MIO_OBJECTNAME" val="Timetable with pictures for two years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14.17323;14.17323;28.34646;28.34645;42.51968;42.51968;56.69291;"/>
  <p:tag name="VCT-BULLETVISIBILITY" val="G ****"/>
  <p:tag name="VCTCREATESHAPEHANDLED" val="0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14.17323;14.17323;28.34646;28.34645;42.51968;42.51968;56.69291;"/>
  <p:tag name="VCT-BULLETVISIBILITY" val="G ****"/>
  <p:tag name="VCTCREATESHAPEHANDLED" val="0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GUID" val="8b8fd338-4f16-4c91-a889-94dd23b4f476"/>
  <p:tag name="MIO_EK" val="11494"/>
  <p:tag name="MIO_EKGUID" val="9e0591cd-320b-48c3-98bc-03985f91e6c6"/>
  <p:tag name="MIO_UPDATE" val="True"/>
  <p:tag name="MIO_VERSION" val="05.06.2017 17:06:19"/>
  <p:tag name="MIO_DBID" val="218709A9-2117-4AF1-A1EA-309C9A305E58"/>
  <p:tag name="MIO_LASTDOWNLOADED" val="17.07.2018 20:54:09"/>
  <p:tag name="MIO_OBJECTNAME" val="Freeform 115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GUID" val="8b8fd338-4f16-4c91-a889-94dd23b4f476"/>
  <p:tag name="MIO_EK" val="11494"/>
  <p:tag name="MIO_EKGUID" val="9e0591cd-320b-48c3-98bc-03985f91e6c6"/>
  <p:tag name="MIO_UPDATE" val="True"/>
  <p:tag name="MIO_VERSION" val="05.06.2017 17:06:19"/>
  <p:tag name="MIO_DBID" val="218709A9-2117-4AF1-A1EA-309C9A305E58"/>
  <p:tag name="MIO_LASTDOWNLOADED" val="17.07.2018 20:54:09"/>
  <p:tag name="MIO_OBJECTNAME" val="Freeform 115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GUID" val="8b8fd338-4f16-4c91-a889-94dd23b4f476"/>
  <p:tag name="MIO_EK" val="11494"/>
  <p:tag name="MIO_EKGUID" val="9e0591cd-320b-48c3-98bc-03985f91e6c6"/>
  <p:tag name="MIO_UPDATE" val="True"/>
  <p:tag name="MIO_VERSION" val="05.06.2017 17:06:19"/>
  <p:tag name="MIO_DBID" val="218709A9-2117-4AF1-A1EA-309C9A305E58"/>
  <p:tag name="MIO_LASTDOWNLOADED" val="17.07.2018 20:54:09"/>
  <p:tag name="MIO_OBJECTNAME" val="Freeform 115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132</TotalTime>
  <Words>84</Words>
  <Application>Microsoft Office PowerPoint</Application>
  <PresentationFormat>Grand écran</PresentationFormat>
  <Paragraphs>75</Paragraphs>
  <Slides>6</Slides>
  <Notes>4</Notes>
  <HiddenSlides>0</HiddenSlides>
  <MMClips>0</MMClips>
  <ScaleCrop>false</ScaleCrop>
  <HeadingPairs>
    <vt:vector size="8" baseType="variant">
      <vt:variant>
        <vt:lpstr>Polices utilisées</vt:lpstr>
      </vt:variant>
      <vt:variant>
        <vt:i4>7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6</vt:i4>
      </vt:variant>
    </vt:vector>
  </HeadingPairs>
  <TitlesOfParts>
    <vt:vector size="15" baseType="lpstr">
      <vt:lpstr>Arial</vt:lpstr>
      <vt:lpstr>Arial Black</vt:lpstr>
      <vt:lpstr>Calibri</vt:lpstr>
      <vt:lpstr>Calibri Light</vt:lpstr>
      <vt:lpstr>Merck</vt:lpstr>
      <vt:lpstr>Verdana</vt:lpstr>
      <vt:lpstr>Wingdings</vt:lpstr>
      <vt:lpstr>Office Theme</vt:lpstr>
      <vt:lpstr>think-cell Slide</vt:lpstr>
      <vt:lpstr>Sommaire</vt:lpstr>
      <vt:lpstr>Sommaire</vt:lpstr>
      <vt:lpstr>Titre</vt:lpstr>
      <vt:lpstr>Titre</vt:lpstr>
      <vt:lpstr>Objectif / Description</vt:lpstr>
      <vt:lpstr>Objectif / Descrip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iogo Vieira</dc:creator>
  <cp:lastModifiedBy>VIEIRA-FERREIRA Diogo</cp:lastModifiedBy>
  <cp:revision>60</cp:revision>
  <dcterms:created xsi:type="dcterms:W3CDTF">2018-07-13T15:09:52Z</dcterms:created>
  <dcterms:modified xsi:type="dcterms:W3CDTF">2019-04-05T06:13:53Z</dcterms:modified>
</cp:coreProperties>
</file>